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notesSlides/notesSlide6.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drawings/drawing2.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36"/>
  </p:notesMasterIdLst>
  <p:sldIdLst>
    <p:sldId id="256" r:id="rId3"/>
    <p:sldId id="257" r:id="rId4"/>
    <p:sldId id="280" r:id="rId5"/>
    <p:sldId id="281" r:id="rId6"/>
    <p:sldId id="282" r:id="rId7"/>
    <p:sldId id="283" r:id="rId8"/>
    <p:sldId id="284" r:id="rId9"/>
    <p:sldId id="285" r:id="rId10"/>
    <p:sldId id="286" r:id="rId11"/>
    <p:sldId id="287" r:id="rId12"/>
    <p:sldId id="288" r:id="rId13"/>
    <p:sldId id="289" r:id="rId14"/>
    <p:sldId id="290" r:id="rId15"/>
    <p:sldId id="279" r:id="rId16"/>
    <p:sldId id="291" r:id="rId17"/>
    <p:sldId id="270" r:id="rId18"/>
    <p:sldId id="292" r:id="rId19"/>
    <p:sldId id="306" r:id="rId20"/>
    <p:sldId id="294" r:id="rId21"/>
    <p:sldId id="309" r:id="rId22"/>
    <p:sldId id="307" r:id="rId23"/>
    <p:sldId id="277" r:id="rId24"/>
    <p:sldId id="311" r:id="rId25"/>
    <p:sldId id="312" r:id="rId26"/>
    <p:sldId id="313" r:id="rId27"/>
    <p:sldId id="314" r:id="rId28"/>
    <p:sldId id="316" r:id="rId29"/>
    <p:sldId id="317" r:id="rId30"/>
    <p:sldId id="318" r:id="rId31"/>
    <p:sldId id="319" r:id="rId32"/>
    <p:sldId id="320" r:id="rId33"/>
    <p:sldId id="321" r:id="rId34"/>
    <p:sldId id="322" r:id="rId35"/>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A51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6" d="100"/>
          <a:sy n="86" d="100"/>
        </p:scale>
        <p:origin x="-1500"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poyointeligencia4\AppData\Local\Temp\be4df6eaf0e044ceb229a9a4b9af2a5b.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apoyointeligencia4\AppData\Local\Temp\be4df6eaf0e044ceb229a9a4b9af2a5b.xls"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apoyointeligencia4\AppData\Local\Temp\BCRP311282013175714-datos.xls"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apoyointeligencia4\AppData\Local\Temp\BCRP305282013181117-datos-1.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P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Part. De las importaciones de alimentos en las importaciones totales (Mundo)</a:t>
            </a:r>
          </a:p>
        </c:rich>
      </c:tx>
      <c:layout/>
      <c:overlay val="0"/>
    </c:title>
    <c:autoTitleDeleted val="0"/>
    <c:plotArea>
      <c:layout/>
      <c:lineChart>
        <c:grouping val="standard"/>
        <c:varyColors val="0"/>
        <c:ser>
          <c:idx val="0"/>
          <c:order val="0"/>
          <c:tx>
            <c:v>Part. De las importaciones de alimentos en las importaciones totales</c:v>
          </c:tx>
          <c:marker>
            <c:symbol val="none"/>
          </c:marker>
          <c:cat>
            <c:strRef>
              <c:f>[be4df6eaf0e044ceb229a9a4b9af2a5b.xls]Hoja1!$M$2:$AK$2</c:f>
              <c:strCache>
                <c:ptCount val="25"/>
                <c:pt idx="0">
                  <c:v>1988</c:v>
                </c:pt>
                <c:pt idx="1">
                  <c:v>1989</c:v>
                </c:pt>
                <c:pt idx="2">
                  <c:v>1990</c:v>
                </c:pt>
                <c:pt idx="3">
                  <c:v>1991</c:v>
                </c:pt>
                <c:pt idx="4">
                  <c:v>1992</c:v>
                </c:pt>
                <c:pt idx="5">
                  <c:v>1993</c:v>
                </c:pt>
                <c:pt idx="6">
                  <c:v>1994</c:v>
                </c:pt>
                <c:pt idx="7">
                  <c:v>1995</c:v>
                </c:pt>
                <c:pt idx="8">
                  <c:v>1996</c:v>
                </c:pt>
                <c:pt idx="9">
                  <c:v>1997</c:v>
                </c:pt>
                <c:pt idx="10">
                  <c:v>1998</c:v>
                </c:pt>
                <c:pt idx="11">
                  <c:v>1999</c:v>
                </c:pt>
                <c:pt idx="12">
                  <c:v>2000</c:v>
                </c:pt>
                <c:pt idx="13">
                  <c:v>2001</c:v>
                </c:pt>
                <c:pt idx="14">
                  <c:v>2002</c:v>
                </c:pt>
                <c:pt idx="15">
                  <c:v>2003</c:v>
                </c:pt>
                <c:pt idx="16">
                  <c:v>2004</c:v>
                </c:pt>
                <c:pt idx="17">
                  <c:v>2005</c:v>
                </c:pt>
                <c:pt idx="18">
                  <c:v>2006</c:v>
                </c:pt>
                <c:pt idx="19">
                  <c:v>2007</c:v>
                </c:pt>
                <c:pt idx="20">
                  <c:v>2008</c:v>
                </c:pt>
                <c:pt idx="21">
                  <c:v>2009</c:v>
                </c:pt>
                <c:pt idx="22">
                  <c:v>2010</c:v>
                </c:pt>
                <c:pt idx="23">
                  <c:v>2011</c:v>
                </c:pt>
                <c:pt idx="24">
                  <c:v>2012</c:v>
                </c:pt>
              </c:strCache>
            </c:strRef>
          </c:cat>
          <c:val>
            <c:numRef>
              <c:f>[be4df6eaf0e044ceb229a9a4b9af2a5b.xls]Hoja1!$M$5:$AK$5</c:f>
              <c:numCache>
                <c:formatCode>0.0%</c:formatCode>
                <c:ptCount val="25"/>
                <c:pt idx="0">
                  <c:v>8.9039236619085249E-2</c:v>
                </c:pt>
                <c:pt idx="1">
                  <c:v>6.7333774314761133E-2</c:v>
                </c:pt>
                <c:pt idx="2">
                  <c:v>6.754511151474292E-2</c:v>
                </c:pt>
                <c:pt idx="3">
                  <c:v>6.9452831910625068E-2</c:v>
                </c:pt>
                <c:pt idx="4">
                  <c:v>6.8959470365678371E-2</c:v>
                </c:pt>
                <c:pt idx="5">
                  <c:v>6.5238426319966028E-2</c:v>
                </c:pt>
                <c:pt idx="6">
                  <c:v>6.4874081295254876E-2</c:v>
                </c:pt>
                <c:pt idx="7">
                  <c:v>6.289903463356053E-2</c:v>
                </c:pt>
                <c:pt idx="8">
                  <c:v>6.350428977274461E-2</c:v>
                </c:pt>
                <c:pt idx="9">
                  <c:v>5.8815286249441573E-2</c:v>
                </c:pt>
                <c:pt idx="10">
                  <c:v>5.8229064966946596E-2</c:v>
                </c:pt>
                <c:pt idx="11">
                  <c:v>5.4581712821905298E-2</c:v>
                </c:pt>
                <c:pt idx="12">
                  <c:v>4.698193895757747E-2</c:v>
                </c:pt>
                <c:pt idx="13">
                  <c:v>4.9947742468037876E-2</c:v>
                </c:pt>
                <c:pt idx="14">
                  <c:v>5.1025029741762887E-2</c:v>
                </c:pt>
                <c:pt idx="15">
                  <c:v>5.0515076116092177E-2</c:v>
                </c:pt>
                <c:pt idx="16">
                  <c:v>4.6966499086100663E-2</c:v>
                </c:pt>
                <c:pt idx="17">
                  <c:v>4.5013402898686349E-2</c:v>
                </c:pt>
                <c:pt idx="18">
                  <c:v>4.2870148808258284E-2</c:v>
                </c:pt>
                <c:pt idx="19">
                  <c:v>4.4524391085998864E-2</c:v>
                </c:pt>
                <c:pt idx="20">
                  <c:v>4.572760513226018E-2</c:v>
                </c:pt>
                <c:pt idx="21">
                  <c:v>5.4065409969583374E-2</c:v>
                </c:pt>
                <c:pt idx="22">
                  <c:v>4.8803324771584972E-2</c:v>
                </c:pt>
                <c:pt idx="23">
                  <c:v>4.9288472385008983E-2</c:v>
                </c:pt>
                <c:pt idx="24">
                  <c:v>4.9473174201364011E-2</c:v>
                </c:pt>
              </c:numCache>
            </c:numRef>
          </c:val>
          <c:smooth val="1"/>
        </c:ser>
        <c:dLbls>
          <c:showLegendKey val="0"/>
          <c:showVal val="0"/>
          <c:showCatName val="0"/>
          <c:showSerName val="0"/>
          <c:showPercent val="0"/>
          <c:showBubbleSize val="0"/>
        </c:dLbls>
        <c:marker val="1"/>
        <c:smooth val="0"/>
        <c:axId val="64662528"/>
        <c:axId val="65299200"/>
      </c:lineChart>
      <c:catAx>
        <c:axId val="64662528"/>
        <c:scaling>
          <c:orientation val="minMax"/>
        </c:scaling>
        <c:delete val="0"/>
        <c:axPos val="b"/>
        <c:numFmt formatCode="General" sourceLinked="0"/>
        <c:majorTickMark val="out"/>
        <c:minorTickMark val="none"/>
        <c:tickLblPos val="nextTo"/>
        <c:crossAx val="65299200"/>
        <c:crosses val="autoZero"/>
        <c:auto val="1"/>
        <c:lblAlgn val="ctr"/>
        <c:lblOffset val="100"/>
        <c:tickLblSkip val="4"/>
        <c:tickMarkSkip val="1"/>
        <c:noMultiLvlLbl val="0"/>
      </c:catAx>
      <c:valAx>
        <c:axId val="65299200"/>
        <c:scaling>
          <c:orientation val="minMax"/>
        </c:scaling>
        <c:delete val="0"/>
        <c:axPos val="l"/>
        <c:numFmt formatCode="0.0%" sourceLinked="1"/>
        <c:majorTickMark val="out"/>
        <c:minorTickMark val="none"/>
        <c:tickLblPos val="nextTo"/>
        <c:crossAx val="64662528"/>
        <c:crosses val="autoZero"/>
        <c:crossBetween val="between"/>
      </c:valAx>
    </c:plotArea>
    <c:plotVisOnly val="1"/>
    <c:dispBlanksAs val="gap"/>
    <c:showDLblsOverMax val="0"/>
  </c:chart>
  <c:spPr>
    <a:ln>
      <a:noFill/>
    </a:ln>
  </c:spPr>
  <c:txPr>
    <a:bodyPr/>
    <a:lstStyle/>
    <a:p>
      <a:pPr>
        <a:defRPr sz="900"/>
      </a:pPr>
      <a:endParaRPr lang="es-P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P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es-ES" sz="1300" dirty="0"/>
              <a:t>Proyecciones de los precios de la </a:t>
            </a:r>
            <a:r>
              <a:rPr lang="es-ES" sz="1300" dirty="0" smtClean="0"/>
              <a:t>energía</a:t>
            </a:r>
          </a:p>
          <a:p>
            <a:pPr>
              <a:defRPr sz="1400"/>
            </a:pPr>
            <a:r>
              <a:rPr lang="es-ES" sz="1300" dirty="0" smtClean="0"/>
              <a:t>(2011=100, términos constantes</a:t>
            </a:r>
            <a:r>
              <a:rPr lang="es-ES" sz="1400" dirty="0" smtClean="0"/>
              <a:t>)</a:t>
            </a:r>
            <a:endParaRPr lang="es-ES" sz="1400" dirty="0"/>
          </a:p>
        </c:rich>
      </c:tx>
      <c:layout/>
      <c:overlay val="0"/>
    </c:title>
    <c:autoTitleDeleted val="0"/>
    <c:plotArea>
      <c:layout/>
      <c:lineChart>
        <c:grouping val="standard"/>
        <c:varyColors val="0"/>
        <c:ser>
          <c:idx val="0"/>
          <c:order val="0"/>
          <c:tx>
            <c:strRef>
              <c:f>[be4df6eaf0e044ceb229a9a4b9af2a5b.xls]Hoja2!$C$2</c:f>
              <c:strCache>
                <c:ptCount val="1"/>
                <c:pt idx="0">
                  <c:v>Sin nuevas regulaciones</c:v>
                </c:pt>
              </c:strCache>
            </c:strRef>
          </c:tx>
          <c:marker>
            <c:symbol val="none"/>
          </c:marker>
          <c:cat>
            <c:numRef>
              <c:f>[be4df6eaf0e044ceb229a9a4b9af2a5b.xls]Hoja2!$B$3:$B$27</c:f>
              <c:numCache>
                <c:formatCode>General</c:formatCode>
                <c:ptCount val="2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pt idx="15">
                  <c:v>2026</c:v>
                </c:pt>
                <c:pt idx="16">
                  <c:v>2027</c:v>
                </c:pt>
                <c:pt idx="17">
                  <c:v>2028</c:v>
                </c:pt>
                <c:pt idx="18">
                  <c:v>2029</c:v>
                </c:pt>
                <c:pt idx="19">
                  <c:v>2030</c:v>
                </c:pt>
                <c:pt idx="20">
                  <c:v>2031</c:v>
                </c:pt>
                <c:pt idx="21">
                  <c:v>2032</c:v>
                </c:pt>
                <c:pt idx="22">
                  <c:v>2033</c:v>
                </c:pt>
                <c:pt idx="23">
                  <c:v>2034</c:v>
                </c:pt>
                <c:pt idx="24">
                  <c:v>2035</c:v>
                </c:pt>
              </c:numCache>
            </c:numRef>
          </c:cat>
          <c:val>
            <c:numRef>
              <c:f>[be4df6eaf0e044ceb229a9a4b9af2a5b.xls]Hoja2!$C$3:$C$27</c:f>
              <c:numCache>
                <c:formatCode>General</c:formatCode>
                <c:ptCount val="25"/>
                <c:pt idx="0">
                  <c:v>100</c:v>
                </c:pt>
                <c:pt idx="1">
                  <c:v>102.33333333333326</c:v>
                </c:pt>
                <c:pt idx="2">
                  <c:v>104.66666666666666</c:v>
                </c:pt>
                <c:pt idx="3">
                  <c:v>107</c:v>
                </c:pt>
                <c:pt idx="4">
                  <c:v>108.76666666666669</c:v>
                </c:pt>
                <c:pt idx="5">
                  <c:v>110.53333333333326</c:v>
                </c:pt>
                <c:pt idx="6">
                  <c:v>112.3</c:v>
                </c:pt>
                <c:pt idx="7">
                  <c:v>114.2</c:v>
                </c:pt>
                <c:pt idx="8">
                  <c:v>116.10000000000001</c:v>
                </c:pt>
                <c:pt idx="9">
                  <c:v>118</c:v>
                </c:pt>
                <c:pt idx="10">
                  <c:v>119.5</c:v>
                </c:pt>
                <c:pt idx="11">
                  <c:v>121</c:v>
                </c:pt>
                <c:pt idx="12">
                  <c:v>122.5</c:v>
                </c:pt>
                <c:pt idx="13">
                  <c:v>123.83333333333326</c:v>
                </c:pt>
                <c:pt idx="14">
                  <c:v>125.16666666666666</c:v>
                </c:pt>
                <c:pt idx="15">
                  <c:v>126.5</c:v>
                </c:pt>
                <c:pt idx="16">
                  <c:v>127.66666666666667</c:v>
                </c:pt>
                <c:pt idx="17">
                  <c:v>128.83333333333348</c:v>
                </c:pt>
                <c:pt idx="18">
                  <c:v>130</c:v>
                </c:pt>
                <c:pt idx="19">
                  <c:v>130.87666666666658</c:v>
                </c:pt>
                <c:pt idx="20">
                  <c:v>131.75333333333344</c:v>
                </c:pt>
                <c:pt idx="21">
                  <c:v>132.63</c:v>
                </c:pt>
                <c:pt idx="22">
                  <c:v>133.41999999999999</c:v>
                </c:pt>
                <c:pt idx="23">
                  <c:v>134.20999999999998</c:v>
                </c:pt>
                <c:pt idx="24">
                  <c:v>135</c:v>
                </c:pt>
              </c:numCache>
            </c:numRef>
          </c:val>
          <c:smooth val="1"/>
        </c:ser>
        <c:ser>
          <c:idx val="1"/>
          <c:order val="1"/>
          <c:tx>
            <c:strRef>
              <c:f>[be4df6eaf0e044ceb229a9a4b9af2a5b.xls]Hoja2!$D$2</c:f>
              <c:strCache>
                <c:ptCount val="1"/>
                <c:pt idx="0">
                  <c:v>Aplicando regulaciones moderadas (escenario base)</c:v>
                </c:pt>
              </c:strCache>
            </c:strRef>
          </c:tx>
          <c:marker>
            <c:symbol val="none"/>
          </c:marker>
          <c:cat>
            <c:numRef>
              <c:f>[be4df6eaf0e044ceb229a9a4b9af2a5b.xls]Hoja2!$B$3:$B$27</c:f>
              <c:numCache>
                <c:formatCode>General</c:formatCode>
                <c:ptCount val="2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pt idx="15">
                  <c:v>2026</c:v>
                </c:pt>
                <c:pt idx="16">
                  <c:v>2027</c:v>
                </c:pt>
                <c:pt idx="17">
                  <c:v>2028</c:v>
                </c:pt>
                <c:pt idx="18">
                  <c:v>2029</c:v>
                </c:pt>
                <c:pt idx="19">
                  <c:v>2030</c:v>
                </c:pt>
                <c:pt idx="20">
                  <c:v>2031</c:v>
                </c:pt>
                <c:pt idx="21">
                  <c:v>2032</c:v>
                </c:pt>
                <c:pt idx="22">
                  <c:v>2033</c:v>
                </c:pt>
                <c:pt idx="23">
                  <c:v>2034</c:v>
                </c:pt>
                <c:pt idx="24">
                  <c:v>2035</c:v>
                </c:pt>
              </c:numCache>
            </c:numRef>
          </c:cat>
          <c:val>
            <c:numRef>
              <c:f>[be4df6eaf0e044ceb229a9a4b9af2a5b.xls]Hoja2!$D$3:$D$27</c:f>
              <c:numCache>
                <c:formatCode>General</c:formatCode>
                <c:ptCount val="25"/>
                <c:pt idx="0">
                  <c:v>100</c:v>
                </c:pt>
                <c:pt idx="1">
                  <c:v>102.06666666666666</c:v>
                </c:pt>
                <c:pt idx="2">
                  <c:v>104.13333333333325</c:v>
                </c:pt>
                <c:pt idx="3">
                  <c:v>106.2</c:v>
                </c:pt>
                <c:pt idx="4">
                  <c:v>107.4</c:v>
                </c:pt>
                <c:pt idx="5">
                  <c:v>108.60000000000001</c:v>
                </c:pt>
                <c:pt idx="6">
                  <c:v>109.8</c:v>
                </c:pt>
                <c:pt idx="7">
                  <c:v>110.3</c:v>
                </c:pt>
                <c:pt idx="8">
                  <c:v>110.8</c:v>
                </c:pt>
                <c:pt idx="9">
                  <c:v>111.3</c:v>
                </c:pt>
                <c:pt idx="10">
                  <c:v>111.7</c:v>
                </c:pt>
                <c:pt idx="11">
                  <c:v>112.10000000000001</c:v>
                </c:pt>
                <c:pt idx="12">
                  <c:v>112.5</c:v>
                </c:pt>
                <c:pt idx="13">
                  <c:v>112.83333333333326</c:v>
                </c:pt>
                <c:pt idx="14">
                  <c:v>113.16666666666666</c:v>
                </c:pt>
                <c:pt idx="15">
                  <c:v>113.5</c:v>
                </c:pt>
                <c:pt idx="16">
                  <c:v>113.93333333333334</c:v>
                </c:pt>
                <c:pt idx="17">
                  <c:v>114.36666666666667</c:v>
                </c:pt>
                <c:pt idx="18">
                  <c:v>114.8</c:v>
                </c:pt>
                <c:pt idx="19">
                  <c:v>114.96666666666674</c:v>
                </c:pt>
                <c:pt idx="20">
                  <c:v>115.13333333333327</c:v>
                </c:pt>
                <c:pt idx="21">
                  <c:v>115.3</c:v>
                </c:pt>
                <c:pt idx="22">
                  <c:v>115.53333333333326</c:v>
                </c:pt>
                <c:pt idx="23">
                  <c:v>115.76666666666669</c:v>
                </c:pt>
                <c:pt idx="24">
                  <c:v>116</c:v>
                </c:pt>
              </c:numCache>
            </c:numRef>
          </c:val>
          <c:smooth val="1"/>
        </c:ser>
        <c:ser>
          <c:idx val="2"/>
          <c:order val="2"/>
          <c:tx>
            <c:strRef>
              <c:f>[be4df6eaf0e044ceb229a9a4b9af2a5b.xls]Hoja2!$E$2</c:f>
              <c:strCache>
                <c:ptCount val="1"/>
                <c:pt idx="0">
                  <c:v>Aplicando regulaciones estrictas</c:v>
                </c:pt>
              </c:strCache>
            </c:strRef>
          </c:tx>
          <c:marker>
            <c:symbol val="none"/>
          </c:marker>
          <c:cat>
            <c:numRef>
              <c:f>[be4df6eaf0e044ceb229a9a4b9af2a5b.xls]Hoja2!$B$3:$B$27</c:f>
              <c:numCache>
                <c:formatCode>General</c:formatCode>
                <c:ptCount val="2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pt idx="15">
                  <c:v>2026</c:v>
                </c:pt>
                <c:pt idx="16">
                  <c:v>2027</c:v>
                </c:pt>
                <c:pt idx="17">
                  <c:v>2028</c:v>
                </c:pt>
                <c:pt idx="18">
                  <c:v>2029</c:v>
                </c:pt>
                <c:pt idx="19">
                  <c:v>2030</c:v>
                </c:pt>
                <c:pt idx="20">
                  <c:v>2031</c:v>
                </c:pt>
                <c:pt idx="21">
                  <c:v>2032</c:v>
                </c:pt>
                <c:pt idx="22">
                  <c:v>2033</c:v>
                </c:pt>
                <c:pt idx="23">
                  <c:v>2034</c:v>
                </c:pt>
                <c:pt idx="24">
                  <c:v>2035</c:v>
                </c:pt>
              </c:numCache>
            </c:numRef>
          </c:cat>
          <c:val>
            <c:numRef>
              <c:f>[be4df6eaf0e044ceb229a9a4b9af2a5b.xls]Hoja2!$E$3:$E$27</c:f>
              <c:numCache>
                <c:formatCode>0.0</c:formatCode>
                <c:ptCount val="25"/>
                <c:pt idx="0">
                  <c:v>100</c:v>
                </c:pt>
                <c:pt idx="1">
                  <c:v>102.5</c:v>
                </c:pt>
                <c:pt idx="2">
                  <c:v>104.5</c:v>
                </c:pt>
                <c:pt idx="3">
                  <c:v>106</c:v>
                </c:pt>
                <c:pt idx="4">
                  <c:v>106.9</c:v>
                </c:pt>
                <c:pt idx="5">
                  <c:v>107</c:v>
                </c:pt>
                <c:pt idx="6">
                  <c:v>106.5</c:v>
                </c:pt>
                <c:pt idx="7">
                  <c:v>106</c:v>
                </c:pt>
                <c:pt idx="8">
                  <c:v>105.17647058823528</c:v>
                </c:pt>
                <c:pt idx="9">
                  <c:v>104.35294117647042</c:v>
                </c:pt>
                <c:pt idx="10">
                  <c:v>103.52941176470587</c:v>
                </c:pt>
                <c:pt idx="11">
                  <c:v>102.70588235294103</c:v>
                </c:pt>
                <c:pt idx="12">
                  <c:v>101.88235294117645</c:v>
                </c:pt>
                <c:pt idx="13">
                  <c:v>101.05882352941174</c:v>
                </c:pt>
                <c:pt idx="14">
                  <c:v>100.23529411764703</c:v>
                </c:pt>
                <c:pt idx="15">
                  <c:v>99.411764705882405</c:v>
                </c:pt>
                <c:pt idx="16">
                  <c:v>98.588235294117624</c:v>
                </c:pt>
                <c:pt idx="17">
                  <c:v>97.764705882352899</c:v>
                </c:pt>
                <c:pt idx="18">
                  <c:v>96.941176470588204</c:v>
                </c:pt>
                <c:pt idx="19">
                  <c:v>96.117647058823479</c:v>
                </c:pt>
                <c:pt idx="20">
                  <c:v>95.294117647058826</c:v>
                </c:pt>
                <c:pt idx="21">
                  <c:v>94.470588235294059</c:v>
                </c:pt>
                <c:pt idx="22">
                  <c:v>93.647058823529235</c:v>
                </c:pt>
                <c:pt idx="23">
                  <c:v>92.823529411764639</c:v>
                </c:pt>
                <c:pt idx="24">
                  <c:v>92</c:v>
                </c:pt>
              </c:numCache>
            </c:numRef>
          </c:val>
          <c:smooth val="1"/>
        </c:ser>
        <c:dLbls>
          <c:showLegendKey val="0"/>
          <c:showVal val="0"/>
          <c:showCatName val="0"/>
          <c:showSerName val="0"/>
          <c:showPercent val="0"/>
          <c:showBubbleSize val="0"/>
        </c:dLbls>
        <c:marker val="1"/>
        <c:smooth val="0"/>
        <c:axId val="71747456"/>
        <c:axId val="71748992"/>
      </c:lineChart>
      <c:catAx>
        <c:axId val="71747456"/>
        <c:scaling>
          <c:orientation val="minMax"/>
        </c:scaling>
        <c:delete val="0"/>
        <c:axPos val="b"/>
        <c:numFmt formatCode="General" sourceLinked="1"/>
        <c:majorTickMark val="out"/>
        <c:minorTickMark val="none"/>
        <c:tickLblPos val="nextTo"/>
        <c:crossAx val="71748992"/>
        <c:crosses val="autoZero"/>
        <c:auto val="1"/>
        <c:lblAlgn val="ctr"/>
        <c:lblOffset val="100"/>
        <c:tickLblSkip val="4"/>
        <c:noMultiLvlLbl val="0"/>
      </c:catAx>
      <c:valAx>
        <c:axId val="71748992"/>
        <c:scaling>
          <c:orientation val="minMax"/>
          <c:min val="80"/>
        </c:scaling>
        <c:delete val="0"/>
        <c:axPos val="l"/>
        <c:numFmt formatCode="General" sourceLinked="1"/>
        <c:majorTickMark val="out"/>
        <c:minorTickMark val="none"/>
        <c:tickLblPos val="nextTo"/>
        <c:crossAx val="71747456"/>
        <c:crosses val="autoZero"/>
        <c:crossBetween val="between"/>
      </c:valAx>
    </c:plotArea>
    <c:legend>
      <c:legendPos val="r"/>
      <c:layout/>
      <c:overlay val="0"/>
    </c:legend>
    <c:plotVisOnly val="1"/>
    <c:dispBlanksAs val="gap"/>
    <c:showDLblsOverMax val="0"/>
  </c:chart>
  <c:spPr>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PE"/>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xPr>
        <a:bodyPr/>
        <a:lstStyle/>
        <a:p>
          <a:pPr>
            <a:defRPr sz="1600"/>
          </a:pPr>
          <a:endParaRPr lang="es-PE"/>
        </a:p>
      </c:txPr>
    </c:title>
    <c:autoTitleDeleted val="0"/>
    <c:plotArea>
      <c:layout/>
      <c:lineChart>
        <c:grouping val="standard"/>
        <c:varyColors val="0"/>
        <c:ser>
          <c:idx val="0"/>
          <c:order val="0"/>
          <c:tx>
            <c:v>Perú: tasa de interés promedio</c:v>
          </c:tx>
          <c:marker>
            <c:symbol val="none"/>
          </c:marker>
          <c:cat>
            <c:numRef>
              <c:f>Sheet1!$D$14:$D$34</c:f>
              <c:numCache>
                <c:formatCode>General</c:formatCode>
                <c:ptCount val="21"/>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numCache>
            </c:numRef>
          </c:cat>
          <c:val>
            <c:numRef>
              <c:f>Sheet1!$C$14:$C$34</c:f>
              <c:numCache>
                <c:formatCode>General</c:formatCode>
                <c:ptCount val="21"/>
                <c:pt idx="0">
                  <c:v>94.238333333333259</c:v>
                </c:pt>
                <c:pt idx="1">
                  <c:v>55.347500000000004</c:v>
                </c:pt>
                <c:pt idx="2">
                  <c:v>36.155000000000001</c:v>
                </c:pt>
                <c:pt idx="3">
                  <c:v>31.533333333333292</c:v>
                </c:pt>
                <c:pt idx="4">
                  <c:v>30.911666666666665</c:v>
                </c:pt>
                <c:pt idx="5">
                  <c:v>32.626666666666594</c:v>
                </c:pt>
                <c:pt idx="6">
                  <c:v>35.056666666666565</c:v>
                </c:pt>
                <c:pt idx="7">
                  <c:v>29.995833333333294</c:v>
                </c:pt>
                <c:pt idx="8">
                  <c:v>24.978333333333282</c:v>
                </c:pt>
                <c:pt idx="9">
                  <c:v>20.765357288580617</c:v>
                </c:pt>
                <c:pt idx="10">
                  <c:v>21.015664971275459</c:v>
                </c:pt>
                <c:pt idx="11">
                  <c:v>24.674564058822618</c:v>
                </c:pt>
                <c:pt idx="12">
                  <c:v>25.533835771634358</c:v>
                </c:pt>
                <c:pt idx="13">
                  <c:v>23.933722499999973</c:v>
                </c:pt>
                <c:pt idx="14">
                  <c:v>22.858148055555549</c:v>
                </c:pt>
                <c:pt idx="15">
                  <c:v>23.673444902480828</c:v>
                </c:pt>
                <c:pt idx="16">
                  <c:v>21.041923333333308</c:v>
                </c:pt>
                <c:pt idx="17">
                  <c:v>18.976493333333295</c:v>
                </c:pt>
                <c:pt idx="18">
                  <c:v>18.677924999999998</c:v>
                </c:pt>
                <c:pt idx="19">
                  <c:v>19.236908333333329</c:v>
                </c:pt>
                <c:pt idx="20">
                  <c:v>19.15892000000002</c:v>
                </c:pt>
              </c:numCache>
            </c:numRef>
          </c:val>
          <c:smooth val="0"/>
        </c:ser>
        <c:dLbls>
          <c:showLegendKey val="0"/>
          <c:showVal val="0"/>
          <c:showCatName val="0"/>
          <c:showSerName val="0"/>
          <c:showPercent val="0"/>
          <c:showBubbleSize val="0"/>
        </c:dLbls>
        <c:marker val="1"/>
        <c:smooth val="0"/>
        <c:axId val="71834240"/>
        <c:axId val="71840128"/>
      </c:lineChart>
      <c:catAx>
        <c:axId val="71834240"/>
        <c:scaling>
          <c:orientation val="minMax"/>
        </c:scaling>
        <c:delete val="0"/>
        <c:axPos val="b"/>
        <c:numFmt formatCode="General" sourceLinked="1"/>
        <c:majorTickMark val="out"/>
        <c:minorTickMark val="none"/>
        <c:tickLblPos val="nextTo"/>
        <c:crossAx val="71840128"/>
        <c:crosses val="autoZero"/>
        <c:auto val="1"/>
        <c:lblAlgn val="ctr"/>
        <c:lblOffset val="100"/>
        <c:noMultiLvlLbl val="0"/>
      </c:catAx>
      <c:valAx>
        <c:axId val="71840128"/>
        <c:scaling>
          <c:orientation val="minMax"/>
        </c:scaling>
        <c:delete val="0"/>
        <c:axPos val="l"/>
        <c:numFmt formatCode="General" sourceLinked="1"/>
        <c:majorTickMark val="out"/>
        <c:minorTickMark val="none"/>
        <c:tickLblPos val="nextTo"/>
        <c:crossAx val="71834240"/>
        <c:crosses val="autoZero"/>
        <c:crossBetween val="between"/>
        <c:majorUnit val="20"/>
      </c:valAx>
    </c:plotArea>
    <c:plotVisOnly val="1"/>
    <c:dispBlanksAs val="gap"/>
    <c:showDLblsOverMax val="0"/>
  </c:chart>
  <c:spPr>
    <a:ln>
      <a:noFill/>
    </a:ln>
  </c:sp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P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es-ES" sz="1600" dirty="0"/>
              <a:t>Ahorro interno como porcentaje </a:t>
            </a:r>
            <a:r>
              <a:rPr lang="es-ES" sz="1600" dirty="0" smtClean="0"/>
              <a:t>(%)</a:t>
            </a:r>
          </a:p>
          <a:p>
            <a:pPr>
              <a:defRPr sz="1600"/>
            </a:pPr>
            <a:r>
              <a:rPr lang="es-ES" sz="1600" dirty="0" smtClean="0"/>
              <a:t>del </a:t>
            </a:r>
            <a:r>
              <a:rPr lang="es-ES" sz="1600" dirty="0"/>
              <a:t>PBI</a:t>
            </a:r>
          </a:p>
        </c:rich>
      </c:tx>
      <c:layout/>
      <c:overlay val="0"/>
    </c:title>
    <c:autoTitleDeleted val="0"/>
    <c:plotArea>
      <c:layout/>
      <c:lineChart>
        <c:grouping val="standard"/>
        <c:varyColors val="0"/>
        <c:ser>
          <c:idx val="0"/>
          <c:order val="0"/>
          <c:tx>
            <c:v>Ahorro interno como porcentaje (%) del PBI</c:v>
          </c:tx>
          <c:marker>
            <c:symbol val="none"/>
          </c:marker>
          <c:cat>
            <c:numRef>
              <c:f>Sheet1!$F$58:$F$77</c:f>
              <c:numCache>
                <c:formatCode>General</c:formatCode>
                <c:ptCount val="20"/>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numCache>
            </c:numRef>
          </c:cat>
          <c:val>
            <c:numRef>
              <c:f>Sheet1!$E$58:$E$77</c:f>
              <c:numCache>
                <c:formatCode>General</c:formatCode>
                <c:ptCount val="20"/>
                <c:pt idx="0">
                  <c:v>16.268843911081959</c:v>
                </c:pt>
                <c:pt idx="1">
                  <c:v>16.233322873916677</c:v>
                </c:pt>
                <c:pt idx="2">
                  <c:v>16.272682380063333</c:v>
                </c:pt>
                <c:pt idx="3">
                  <c:v>18.333547438065889</c:v>
                </c:pt>
                <c:pt idx="4">
                  <c:v>17.770616592810377</c:v>
                </c:pt>
                <c:pt idx="5">
                  <c:v>18.359046274964363</c:v>
                </c:pt>
                <c:pt idx="6">
                  <c:v>17.238708136846199</c:v>
                </c:pt>
                <c:pt idx="7">
                  <c:v>16.492820317066052</c:v>
                </c:pt>
                <c:pt idx="8">
                  <c:v>16.399044497631227</c:v>
                </c:pt>
                <c:pt idx="9">
                  <c:v>16.834100350381178</c:v>
                </c:pt>
                <c:pt idx="10">
                  <c:v>17.922908839481156</c:v>
                </c:pt>
                <c:pt idx="11">
                  <c:v>19.250229244099977</c:v>
                </c:pt>
                <c:pt idx="12">
                  <c:v>23.021101109727653</c:v>
                </c:pt>
                <c:pt idx="13">
                  <c:v>24.184705348577257</c:v>
                </c:pt>
                <c:pt idx="14">
                  <c:v>22.746494030182308</c:v>
                </c:pt>
                <c:pt idx="15">
                  <c:v>20.0867059891564</c:v>
                </c:pt>
                <c:pt idx="16">
                  <c:v>22.76502318886552</c:v>
                </c:pt>
                <c:pt idx="17">
                  <c:v>23.41831025492699</c:v>
                </c:pt>
                <c:pt idx="18">
                  <c:v>23.24672414916391</c:v>
                </c:pt>
                <c:pt idx="19">
                  <c:v>23.762570331009481</c:v>
                </c:pt>
              </c:numCache>
            </c:numRef>
          </c:val>
          <c:smooth val="0"/>
        </c:ser>
        <c:dLbls>
          <c:showLegendKey val="0"/>
          <c:showVal val="0"/>
          <c:showCatName val="0"/>
          <c:showSerName val="0"/>
          <c:showPercent val="0"/>
          <c:showBubbleSize val="0"/>
        </c:dLbls>
        <c:marker val="1"/>
        <c:smooth val="0"/>
        <c:axId val="71855488"/>
        <c:axId val="71865472"/>
      </c:lineChart>
      <c:catAx>
        <c:axId val="71855488"/>
        <c:scaling>
          <c:orientation val="minMax"/>
        </c:scaling>
        <c:delete val="0"/>
        <c:axPos val="b"/>
        <c:numFmt formatCode="General" sourceLinked="1"/>
        <c:majorTickMark val="out"/>
        <c:minorTickMark val="none"/>
        <c:tickLblPos val="nextTo"/>
        <c:crossAx val="71865472"/>
        <c:crosses val="autoZero"/>
        <c:auto val="1"/>
        <c:lblAlgn val="ctr"/>
        <c:lblOffset val="100"/>
        <c:noMultiLvlLbl val="0"/>
      </c:catAx>
      <c:valAx>
        <c:axId val="71865472"/>
        <c:scaling>
          <c:orientation val="minMax"/>
        </c:scaling>
        <c:delete val="0"/>
        <c:axPos val="l"/>
        <c:numFmt formatCode="General" sourceLinked="1"/>
        <c:majorTickMark val="out"/>
        <c:minorTickMark val="none"/>
        <c:tickLblPos val="nextTo"/>
        <c:crossAx val="71855488"/>
        <c:crosses val="autoZero"/>
        <c:crossBetween val="between"/>
      </c:valAx>
    </c:plotArea>
    <c:plotVisOnly val="1"/>
    <c:dispBlanksAs val="gap"/>
    <c:showDLblsOverMax val="0"/>
  </c:chart>
  <c:spPr>
    <a:ln>
      <a:noFill/>
    </a:ln>
  </c:sp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46489</cdr:x>
      <cdr:y>0.6264</cdr:y>
    </cdr:from>
    <cdr:to>
      <cdr:x>0.94983</cdr:x>
      <cdr:y>0.68689</cdr:y>
    </cdr:to>
    <cdr:cxnSp macro="">
      <cdr:nvCxnSpPr>
        <cdr:cNvPr id="3" name="2 Conector recto de flecha"/>
        <cdr:cNvCxnSpPr/>
      </cdr:nvCxnSpPr>
      <cdr:spPr>
        <a:xfrm xmlns:a="http://schemas.openxmlformats.org/drawingml/2006/main">
          <a:off x="2001911" y="1718338"/>
          <a:ext cx="2088232" cy="165935"/>
        </a:xfrm>
        <a:prstGeom xmlns:a="http://schemas.openxmlformats.org/drawingml/2006/main" prst="straightConnector1">
          <a:avLst/>
        </a:prstGeom>
        <a:ln xmlns:a="http://schemas.openxmlformats.org/drawingml/2006/main" w="12700">
          <a:solidFill>
            <a:schemeClr val="tx1">
              <a:lumMod val="95000"/>
              <a:lumOff val="5000"/>
            </a:schemeClr>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53549</cdr:x>
      <cdr:y>0.43894</cdr:y>
    </cdr:from>
    <cdr:to>
      <cdr:x>0.94499</cdr:x>
      <cdr:y>0.54603</cdr:y>
    </cdr:to>
    <cdr:cxnSp macro="">
      <cdr:nvCxnSpPr>
        <cdr:cNvPr id="2" name="1 Conector recto de flecha"/>
        <cdr:cNvCxnSpPr/>
      </cdr:nvCxnSpPr>
      <cdr:spPr>
        <a:xfrm xmlns:a="http://schemas.openxmlformats.org/drawingml/2006/main" flipV="1">
          <a:off x="2448272" y="1204104"/>
          <a:ext cx="1872208" cy="293766"/>
        </a:xfrm>
        <a:prstGeom xmlns:a="http://schemas.openxmlformats.org/drawingml/2006/main" prst="straightConnector1">
          <a:avLst/>
        </a:prstGeom>
        <a:ln xmlns:a="http://schemas.openxmlformats.org/drawingml/2006/main" w="12700">
          <a:solidFill>
            <a:schemeClr val="tx1">
              <a:lumMod val="95000"/>
              <a:lumOff val="5000"/>
            </a:schemeClr>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7D95B8-11F7-4463-82C9-121CA945D0EC}" type="datetimeFigureOut">
              <a:rPr lang="es-ES" smtClean="0"/>
              <a:pPr/>
              <a:t>25/11/2013</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A100F82-0005-451B-9F47-89FB92E18A33}" type="slidenum">
              <a:rPr lang="es-ES" smtClean="0"/>
              <a:pPr/>
              <a:t>‹Nº›</a:t>
            </a:fld>
            <a:endParaRPr lang="es-ES"/>
          </a:p>
        </p:txBody>
      </p:sp>
    </p:spTree>
    <p:extLst>
      <p:ext uri="{BB962C8B-B14F-4D97-AF65-F5344CB8AC3E}">
        <p14:creationId xmlns:p14="http://schemas.microsoft.com/office/powerpoint/2010/main" val="35800046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fontScale="92500"/>
          </a:bodyPr>
          <a:lstStyle/>
          <a:p>
            <a:pPr lvl="0"/>
            <a:r>
              <a:rPr lang="es-ES" dirty="0"/>
              <a:t>Cambios demográficos:</a:t>
            </a:r>
          </a:p>
          <a:p>
            <a:pPr lvl="0"/>
            <a:endParaRPr lang="es-ES" dirty="0"/>
          </a:p>
          <a:p>
            <a:pPr lvl="1"/>
            <a:r>
              <a:rPr lang="es-ES" dirty="0"/>
              <a:t>Envejecimiento de la población: la mayor proporción de población joven en una economía genera ventajas comparativas en productos intensivos en mano  de obra. La caída de tasas de fecundidad en las economías emergentes presionará a una convergencia en la proporción de población joven que pertenece a la fuerza laboral, favoreciendo el aumento del comercio </a:t>
            </a:r>
            <a:r>
              <a:rPr lang="es-ES" dirty="0" err="1"/>
              <a:t>intraindustrial</a:t>
            </a:r>
            <a:r>
              <a:rPr lang="es-ES" dirty="0"/>
              <a:t> en bienes de mayor sofisticación. Asimismo, el envejecimiento de la población llevará a aumentos en los servicios consumidos por adultos mayores: salud, turismo, comunicaciones, transporte, etc.</a:t>
            </a:r>
          </a:p>
          <a:p>
            <a:pPr lvl="1"/>
            <a:endParaRPr lang="es-ES" dirty="0"/>
          </a:p>
          <a:p>
            <a:pPr lvl="1"/>
            <a:r>
              <a:rPr lang="es-ES" dirty="0"/>
              <a:t>El aumento del nivel educativo en las economías emergentes generará también ventajas comparativas en la producción de bienes más sofisticados. Ante esta convergencia, la especialización de los países como productores de determinados bienes dependerá de la distribución del capital humano en la población: países como Alemania o Japón (con distribución de CH homogénea) se caracterizan por tener ventajas en productos como automóviles (que requieren esmero y precisión en varias tareas), mientras que Estados Unidos o Italia presentan ventaja en productos que requieren pocos trabajadores muy competentes (como software o moda).</a:t>
            </a:r>
          </a:p>
          <a:p>
            <a:pPr lvl="1"/>
            <a:endParaRPr lang="es-ES" dirty="0"/>
          </a:p>
          <a:p>
            <a:pPr lvl="1"/>
            <a:r>
              <a:rPr lang="es-ES" dirty="0"/>
              <a:t>La mayor participación de la mujer en la fuerza laboral traerá una disminución en las tasas de fecundidad que tendrán incidencia en el envejecimiento de la población. Asimismo, ocasionará un incremento del número de hogares en la clase media que favorecerá la demanda por bienes de consumo (incluidas importaciones).</a:t>
            </a:r>
          </a:p>
          <a:p>
            <a:endParaRPr lang="es-ES" dirty="0"/>
          </a:p>
        </p:txBody>
      </p:sp>
      <p:sp>
        <p:nvSpPr>
          <p:cNvPr id="4" name="3 Marcador de número de diapositiva"/>
          <p:cNvSpPr>
            <a:spLocks noGrp="1"/>
          </p:cNvSpPr>
          <p:nvPr>
            <p:ph type="sldNum" sz="quarter" idx="10"/>
          </p:nvPr>
        </p:nvSpPr>
        <p:spPr/>
        <p:txBody>
          <a:bodyPr/>
          <a:lstStyle/>
          <a:p>
            <a:fld id="{3D83A1A7-B6A4-47E3-B2CB-D779630E688A}" type="slidenum">
              <a:rPr lang="es-ES" smtClean="0"/>
              <a:pPr/>
              <a:t>3</a:t>
            </a:fld>
            <a:endParaRPr lang="es-ES"/>
          </a:p>
        </p:txBody>
      </p:sp>
    </p:spTree>
    <p:extLst>
      <p:ext uri="{BB962C8B-B14F-4D97-AF65-F5344CB8AC3E}">
        <p14:creationId xmlns:p14="http://schemas.microsoft.com/office/powerpoint/2010/main" val="28328868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1559A6A7-937A-479F-BD2B-9423E317985A}" type="slidenum">
              <a:rPr lang="es-PE" smtClean="0"/>
              <a:pPr/>
              <a:t>12</a:t>
            </a:fld>
            <a:endParaRPr lang="es-PE"/>
          </a:p>
        </p:txBody>
      </p:sp>
    </p:spTree>
    <p:extLst>
      <p:ext uri="{BB962C8B-B14F-4D97-AF65-F5344CB8AC3E}">
        <p14:creationId xmlns:p14="http://schemas.microsoft.com/office/powerpoint/2010/main" val="34732288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173919" indent="-173919">
              <a:buFontTx/>
              <a:buChar char="-"/>
            </a:pPr>
            <a:r>
              <a:rPr lang="es-PE" dirty="0" smtClean="0"/>
              <a:t>Según cifras</a:t>
            </a:r>
            <a:r>
              <a:rPr lang="es-PE" baseline="0" dirty="0" smtClean="0"/>
              <a:t> del FMI, el crecimiento mundial de 2013 caería 0.3 p.p. llegando a 2.9% de crecimiento al final del año.</a:t>
            </a:r>
          </a:p>
        </p:txBody>
      </p:sp>
      <p:sp>
        <p:nvSpPr>
          <p:cNvPr id="4" name="3 Marcador de número de diapositiva"/>
          <p:cNvSpPr>
            <a:spLocks noGrp="1"/>
          </p:cNvSpPr>
          <p:nvPr>
            <p:ph type="sldNum" sz="quarter" idx="10"/>
          </p:nvPr>
        </p:nvSpPr>
        <p:spPr/>
        <p:txBody>
          <a:bodyPr/>
          <a:lstStyle/>
          <a:p>
            <a:fld id="{07E94C32-71AC-4C2F-A02D-33E5EF719617}" type="slidenum">
              <a:rPr lang="es-PE" smtClean="0"/>
              <a:pPr/>
              <a:t>13</a:t>
            </a:fld>
            <a:endParaRPr lang="es-PE"/>
          </a:p>
        </p:txBody>
      </p:sp>
    </p:spTree>
    <p:extLst>
      <p:ext uri="{BB962C8B-B14F-4D97-AF65-F5344CB8AC3E}">
        <p14:creationId xmlns:p14="http://schemas.microsoft.com/office/powerpoint/2010/main" val="40938014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173919" indent="-173919" algn="just" defTabSz="927567">
              <a:buFontTx/>
              <a:buChar char="-"/>
              <a:defRPr/>
            </a:pPr>
            <a:r>
              <a:rPr lang="es-ES" dirty="0"/>
              <a:t>El segmento más importante dentro de la industria fue el compuesto por restaurantes de comida rápida, con 32.5% de participación de las ventas de franquicias totales; le siguen en importancia las franquicias de servicios empresariales (18.6%), las de servicios personales (10.9%) y las de alojamiento (9.9% del total). Por otro lado, los segmentos de franquicias que crecieron en mayor medida el último año fueron los de Bienes Raíces y el compuesto por servicios comerciales y residenciales, ambos con aumentos de 6.3% y 5.5% con relación a 2011, respectivamente.</a:t>
            </a:r>
          </a:p>
          <a:p>
            <a:pPr marL="173919" indent="-173919" algn="just" defTabSz="927567">
              <a:buFontTx/>
              <a:buChar char="-"/>
              <a:defRPr/>
            </a:pPr>
            <a:r>
              <a:rPr lang="es-PE" dirty="0"/>
              <a:t>Muchos </a:t>
            </a:r>
            <a:r>
              <a:rPr lang="es-PE" dirty="0" err="1"/>
              <a:t>franquiciantes</a:t>
            </a:r>
            <a:r>
              <a:rPr lang="es-PE" dirty="0"/>
              <a:t> han aprendido que es más fácil crecer con </a:t>
            </a:r>
            <a:r>
              <a:rPr lang="es-PE" dirty="0" err="1"/>
              <a:t>franquiciatarios</a:t>
            </a:r>
            <a:r>
              <a:rPr lang="es-PE" dirty="0"/>
              <a:t> maestros o </a:t>
            </a:r>
            <a:r>
              <a:rPr lang="es-PE" dirty="0" err="1"/>
              <a:t>franquiciatarios</a:t>
            </a:r>
            <a:r>
              <a:rPr lang="es-PE" dirty="0"/>
              <a:t> dueños de múltiples unidades. Así, cuando un </a:t>
            </a:r>
            <a:r>
              <a:rPr lang="es-PE" dirty="0" err="1"/>
              <a:t>franquiciatario</a:t>
            </a:r>
            <a:r>
              <a:rPr lang="es-PE" dirty="0"/>
              <a:t> múltiple abre su segunda, tercera o cuarta unidad, el </a:t>
            </a:r>
            <a:r>
              <a:rPr lang="es-PE" dirty="0" err="1"/>
              <a:t>franquiciante</a:t>
            </a:r>
            <a:r>
              <a:rPr lang="es-PE" dirty="0"/>
              <a:t> no debe seguir el mismo proceso de capacitación o asesoría que debería tener si, en cambio, tuviera cuatro </a:t>
            </a:r>
            <a:r>
              <a:rPr lang="es-PE" dirty="0" err="1"/>
              <a:t>franquiciatarios</a:t>
            </a:r>
            <a:r>
              <a:rPr lang="es-PE" dirty="0"/>
              <a:t> distintos.</a:t>
            </a:r>
            <a:endParaRPr lang="es-ES" dirty="0"/>
          </a:p>
          <a:p>
            <a:pPr marL="173919" indent="-173919" defTabSz="927567">
              <a:buFontTx/>
              <a:buChar char="-"/>
              <a:defRPr/>
            </a:pPr>
            <a:endParaRPr lang="es-ES" dirty="0"/>
          </a:p>
          <a:p>
            <a:endParaRPr lang="es-PE" dirty="0"/>
          </a:p>
        </p:txBody>
      </p:sp>
      <p:sp>
        <p:nvSpPr>
          <p:cNvPr id="4" name="3 Marcador de número de diapositiva"/>
          <p:cNvSpPr>
            <a:spLocks noGrp="1"/>
          </p:cNvSpPr>
          <p:nvPr>
            <p:ph type="sldNum" sz="quarter" idx="10"/>
          </p:nvPr>
        </p:nvSpPr>
        <p:spPr/>
        <p:txBody>
          <a:bodyPr/>
          <a:lstStyle/>
          <a:p>
            <a:fld id="{07E94C32-71AC-4C2F-A02D-33E5EF719617}" type="slidenum">
              <a:rPr lang="es-PE" smtClean="0"/>
              <a:pPr/>
              <a:t>14</a:t>
            </a:fld>
            <a:endParaRPr lang="es-PE"/>
          </a:p>
        </p:txBody>
      </p:sp>
    </p:spTree>
    <p:extLst>
      <p:ext uri="{BB962C8B-B14F-4D97-AF65-F5344CB8AC3E}">
        <p14:creationId xmlns:p14="http://schemas.microsoft.com/office/powerpoint/2010/main" val="37664461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173919" indent="-173919" defTabSz="927567">
              <a:buFontTx/>
              <a:buChar char="-"/>
              <a:defRPr/>
            </a:pPr>
            <a:r>
              <a:rPr lang="es-ES" dirty="0"/>
              <a:t>Se espera que los flujos de IED en el Perú desciendan en 2013, para luego recuperarse el siguiente año.</a:t>
            </a:r>
          </a:p>
          <a:p>
            <a:pPr marL="173919" indent="-173919" defTabSz="927567">
              <a:buFontTx/>
              <a:buChar char="-"/>
              <a:defRPr/>
            </a:pPr>
            <a:r>
              <a:rPr lang="es-ES" dirty="0"/>
              <a:t>En la década de 2000, los servicios fueron los más importantes de participación en las IED. De 2005 a 2007, los flujos de IED en recursos naturales representaron el 8% del total, mientras que las manufacturas representaron el 41% y los servicios el 50%. Entre 2008 y 2011, los flujos de IED promedio constituyeron 12% de los recursos naturales, el 44% para la producción y el 44% para los servicios. Junto a este cambio de composición, la proporción de la IED en el PIB mundial aumentó del 8% en 1990 al 29% en 2012.</a:t>
            </a:r>
          </a:p>
          <a:p>
            <a:pPr marL="173919" indent="-173919" defTabSz="927567">
              <a:buFontTx/>
              <a:buChar char="-"/>
              <a:defRPr/>
            </a:pPr>
            <a:endParaRPr lang="es-ES" dirty="0"/>
          </a:p>
          <a:p>
            <a:pPr marL="173919" indent="-173919" defTabSz="927567">
              <a:buFontTx/>
              <a:buChar char="-"/>
              <a:defRPr/>
            </a:pPr>
            <a:endParaRPr lang="es-ES" dirty="0"/>
          </a:p>
          <a:p>
            <a:endParaRPr lang="es-PE" dirty="0"/>
          </a:p>
        </p:txBody>
      </p:sp>
      <p:sp>
        <p:nvSpPr>
          <p:cNvPr id="4" name="3 Marcador de número de diapositiva"/>
          <p:cNvSpPr>
            <a:spLocks noGrp="1"/>
          </p:cNvSpPr>
          <p:nvPr>
            <p:ph type="sldNum" sz="quarter" idx="10"/>
          </p:nvPr>
        </p:nvSpPr>
        <p:spPr/>
        <p:txBody>
          <a:bodyPr/>
          <a:lstStyle/>
          <a:p>
            <a:fld id="{07E94C32-71AC-4C2F-A02D-33E5EF719617}" type="slidenum">
              <a:rPr lang="es-PE" smtClean="0"/>
              <a:pPr/>
              <a:t>15</a:t>
            </a:fld>
            <a:endParaRPr lang="es-PE"/>
          </a:p>
        </p:txBody>
      </p:sp>
    </p:spTree>
    <p:extLst>
      <p:ext uri="{BB962C8B-B14F-4D97-AF65-F5344CB8AC3E}">
        <p14:creationId xmlns:p14="http://schemas.microsoft.com/office/powerpoint/2010/main" val="3486292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
        <p:nvSpPr>
          <p:cNvPr id="4" name="Marcador de número de diapositiva 3"/>
          <p:cNvSpPr>
            <a:spLocks noGrp="1"/>
          </p:cNvSpPr>
          <p:nvPr>
            <p:ph type="sldNum" sz="quarter" idx="10"/>
          </p:nvPr>
        </p:nvSpPr>
        <p:spPr/>
        <p:txBody>
          <a:bodyPr/>
          <a:lstStyle/>
          <a:p>
            <a:fld id="{07E94C32-71AC-4C2F-A02D-33E5EF719617}" type="slidenum">
              <a:rPr lang="es-PE" smtClean="0"/>
              <a:pPr/>
              <a:t>17</a:t>
            </a:fld>
            <a:endParaRPr lang="es-PE"/>
          </a:p>
        </p:txBody>
      </p:sp>
    </p:spTree>
    <p:extLst>
      <p:ext uri="{BB962C8B-B14F-4D97-AF65-F5344CB8AC3E}">
        <p14:creationId xmlns:p14="http://schemas.microsoft.com/office/powerpoint/2010/main" val="13872913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1 Marcador de imagen de diapositiva"/>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 name="3 Marcador de número de diapositiva"/>
          <p:cNvSpPr>
            <a:spLocks noGrp="1"/>
          </p:cNvSpPr>
          <p:nvPr>
            <p:ph type="sldNum" sz="quarter" idx="5"/>
          </p:nvPr>
        </p:nvSpPr>
        <p:spPr/>
        <p:txBody>
          <a:bodyPr/>
          <a:lstStyle/>
          <a:p>
            <a:pPr>
              <a:defRPr/>
            </a:pPr>
            <a:fld id="{F142488D-B8D8-493E-979D-F7FE35D1CD16}" type="slidenum">
              <a:rPr lang="es-PE" smtClean="0"/>
              <a:pPr>
                <a:defRPr/>
              </a:pPr>
              <a:t>18</a:t>
            </a:fld>
            <a:endParaRPr lang="es-PE"/>
          </a:p>
        </p:txBody>
      </p:sp>
      <p:sp>
        <p:nvSpPr>
          <p:cNvPr id="2" name="1 Marcador de notas"/>
          <p:cNvSpPr>
            <a:spLocks noGrp="1"/>
          </p:cNvSpPr>
          <p:nvPr>
            <p:ph type="body" sz="quarter" idx="10"/>
          </p:nvPr>
        </p:nvSpPr>
        <p:spPr/>
        <p:txBody>
          <a:bodyPr/>
          <a:lstStyle/>
          <a:p>
            <a:endParaRPr lang="es-PE"/>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1 Marcador de imagen de diapositiva"/>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2 Marcador de notas"/>
          <p:cNvSpPr>
            <a:spLocks noGrp="1"/>
          </p:cNvSpPr>
          <p:nvPr>
            <p:ph type="body" idx="1"/>
          </p:nvPr>
        </p:nvSpPr>
        <p:spPr/>
        <p:txBody>
          <a:bodyPr/>
          <a:lstStyle/>
          <a:p>
            <a:pPr>
              <a:defRPr/>
            </a:pPr>
            <a:endParaRPr lang="es-PE" dirty="0"/>
          </a:p>
        </p:txBody>
      </p:sp>
      <p:sp>
        <p:nvSpPr>
          <p:cNvPr id="4" name="3 Marcador de número de diapositiva"/>
          <p:cNvSpPr>
            <a:spLocks noGrp="1"/>
          </p:cNvSpPr>
          <p:nvPr>
            <p:ph type="sldNum" sz="quarter" idx="5"/>
          </p:nvPr>
        </p:nvSpPr>
        <p:spPr/>
        <p:txBody>
          <a:bodyPr/>
          <a:lstStyle/>
          <a:p>
            <a:pPr>
              <a:defRPr/>
            </a:pPr>
            <a:fld id="{BF23947F-75A1-45DD-A20E-BF48245BCF11}" type="slidenum">
              <a:rPr lang="es-PE" smtClean="0"/>
              <a:pPr>
                <a:defRPr/>
              </a:pPr>
              <a:t>21</a:t>
            </a:fld>
            <a:endParaRPr lang="es-P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lvl="0"/>
            <a:r>
              <a:rPr lang="es-ES" dirty="0"/>
              <a:t>Inversiones en infraestructura:</a:t>
            </a:r>
          </a:p>
          <a:p>
            <a:pPr lvl="0"/>
            <a:endParaRPr lang="es-ES" dirty="0"/>
          </a:p>
          <a:p>
            <a:pPr lvl="1"/>
            <a:r>
              <a:rPr lang="es-ES" dirty="0"/>
              <a:t>La mayor acumulación de capital de infraestructura generará una disminución de costos que hará aumentar el comercio de países vecinos en continentes como África y Sudamérica.</a:t>
            </a:r>
          </a:p>
          <a:p>
            <a:pPr lvl="1"/>
            <a:endParaRPr lang="es-ES" dirty="0"/>
          </a:p>
          <a:p>
            <a:pPr lvl="1"/>
            <a:r>
              <a:rPr lang="es-ES" dirty="0"/>
              <a:t>El incremento de la inversión en infraestructura de </a:t>
            </a:r>
            <a:r>
              <a:rPr lang="es-ES" dirty="0" err="1"/>
              <a:t>TICs</a:t>
            </a:r>
            <a:r>
              <a:rPr lang="es-ES" dirty="0"/>
              <a:t> favorecerá los flujos de comercio de servicios, que crecerán a tasas mayores que el comercio de bienes.</a:t>
            </a:r>
          </a:p>
          <a:p>
            <a:endParaRPr lang="es-ES" dirty="0"/>
          </a:p>
        </p:txBody>
      </p:sp>
      <p:sp>
        <p:nvSpPr>
          <p:cNvPr id="4" name="3 Marcador de número de diapositiva"/>
          <p:cNvSpPr>
            <a:spLocks noGrp="1"/>
          </p:cNvSpPr>
          <p:nvPr>
            <p:ph type="sldNum" sz="quarter" idx="10"/>
          </p:nvPr>
        </p:nvSpPr>
        <p:spPr/>
        <p:txBody>
          <a:bodyPr/>
          <a:lstStyle/>
          <a:p>
            <a:fld id="{3D83A1A7-B6A4-47E3-B2CB-D779630E688A}" type="slidenum">
              <a:rPr lang="es-ES" smtClean="0"/>
              <a:pPr/>
              <a:t>4</a:t>
            </a:fld>
            <a:endParaRPr lang="es-ES"/>
          </a:p>
        </p:txBody>
      </p:sp>
    </p:spTree>
    <p:extLst>
      <p:ext uri="{BB962C8B-B14F-4D97-AF65-F5344CB8AC3E}">
        <p14:creationId xmlns:p14="http://schemas.microsoft.com/office/powerpoint/2010/main" val="914539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lvl="0"/>
            <a:r>
              <a:rPr lang="es-ES" dirty="0"/>
              <a:t>Progreso tecnológico.</a:t>
            </a:r>
          </a:p>
          <a:p>
            <a:pPr lvl="0"/>
            <a:endParaRPr lang="es-ES" dirty="0"/>
          </a:p>
          <a:p>
            <a:pPr lvl="1"/>
            <a:r>
              <a:rPr lang="es-ES" dirty="0"/>
              <a:t>En las últimas décadas algunos países (sobretodo los tigres asiáticos y los BRICS) han acelerado su inversión en I+D, logrando que la capacidad innovadora no sea un atributo exclusivo de las economías desarrolladas. Esto tiene como consecuencia una convergencia tecnológica que se desarrolla con énfasis a nivel regional (entre países de América Latina, Asia – Pacífico, etc.).</a:t>
            </a:r>
          </a:p>
          <a:p>
            <a:pPr lvl="1"/>
            <a:endParaRPr lang="es-ES" dirty="0"/>
          </a:p>
          <a:p>
            <a:pPr lvl="1"/>
            <a:r>
              <a:rPr lang="es-ES" dirty="0"/>
              <a:t>El desarrollo de las </a:t>
            </a:r>
            <a:r>
              <a:rPr lang="es-ES" dirty="0" err="1"/>
              <a:t>TICs</a:t>
            </a:r>
            <a:r>
              <a:rPr lang="es-ES" dirty="0"/>
              <a:t> tendrá impactos positivos en el flujo de comercio de servicios. Los servicios con un alto componente de conocimiento irán adquiriendo mayor importancia a nivel global.</a:t>
            </a:r>
          </a:p>
          <a:p>
            <a:pPr lvl="1"/>
            <a:endParaRPr lang="es-ES" dirty="0"/>
          </a:p>
          <a:p>
            <a:pPr lvl="1"/>
            <a:r>
              <a:rPr lang="es-ES" dirty="0" err="1"/>
              <a:t>TICs</a:t>
            </a:r>
            <a:r>
              <a:rPr lang="es-ES" dirty="0"/>
              <a:t>: tecnologías de información y comunicaciones</a:t>
            </a:r>
          </a:p>
          <a:p>
            <a:endParaRPr lang="es-ES" dirty="0"/>
          </a:p>
        </p:txBody>
      </p:sp>
      <p:sp>
        <p:nvSpPr>
          <p:cNvPr id="4" name="3 Marcador de número de diapositiva"/>
          <p:cNvSpPr>
            <a:spLocks noGrp="1"/>
          </p:cNvSpPr>
          <p:nvPr>
            <p:ph type="sldNum" sz="quarter" idx="10"/>
          </p:nvPr>
        </p:nvSpPr>
        <p:spPr/>
        <p:txBody>
          <a:bodyPr/>
          <a:lstStyle/>
          <a:p>
            <a:fld id="{3D83A1A7-B6A4-47E3-B2CB-D779630E688A}" type="slidenum">
              <a:rPr lang="es-ES" smtClean="0"/>
              <a:pPr/>
              <a:t>5</a:t>
            </a:fld>
            <a:endParaRPr lang="es-ES"/>
          </a:p>
        </p:txBody>
      </p:sp>
    </p:spTree>
    <p:extLst>
      <p:ext uri="{BB962C8B-B14F-4D97-AF65-F5344CB8AC3E}">
        <p14:creationId xmlns:p14="http://schemas.microsoft.com/office/powerpoint/2010/main" val="1908486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lvl="0"/>
            <a:r>
              <a:rPr lang="es-ES" dirty="0"/>
              <a:t>Restricciones de recursos naturales.</a:t>
            </a:r>
          </a:p>
          <a:p>
            <a:pPr lvl="0"/>
            <a:endParaRPr lang="es-ES" dirty="0"/>
          </a:p>
          <a:p>
            <a:pPr lvl="1"/>
            <a:r>
              <a:rPr lang="es-ES" dirty="0"/>
              <a:t>Según proyecciones de la OCDE, la demanda mundial de agua aumentará 55% entre 2000 y 2050, debido al incremento de la producción manufacturera, de electricidad y al consumo doméstico. Dicho aumento tendrá un fuerte impacto en el sur de Asia, donde la escasez del recurso hídrico hará que los países se vean obligados a importar alimentos y productos agropecuarios. Con ello, la tendencia de disminución de participación de los productos agropecuarios en el comercio mundial se podría revertir en las próximas décadas.</a:t>
            </a:r>
          </a:p>
          <a:p>
            <a:endParaRPr lang="es-ES" dirty="0"/>
          </a:p>
        </p:txBody>
      </p:sp>
      <p:sp>
        <p:nvSpPr>
          <p:cNvPr id="4" name="3 Marcador de número de diapositiva"/>
          <p:cNvSpPr>
            <a:spLocks noGrp="1"/>
          </p:cNvSpPr>
          <p:nvPr>
            <p:ph type="sldNum" sz="quarter" idx="10"/>
          </p:nvPr>
        </p:nvSpPr>
        <p:spPr/>
        <p:txBody>
          <a:bodyPr/>
          <a:lstStyle/>
          <a:p>
            <a:fld id="{3D83A1A7-B6A4-47E3-B2CB-D779630E688A}" type="slidenum">
              <a:rPr lang="es-ES" smtClean="0"/>
              <a:pPr/>
              <a:t>6</a:t>
            </a:fld>
            <a:endParaRPr lang="es-ES"/>
          </a:p>
        </p:txBody>
      </p:sp>
    </p:spTree>
    <p:extLst>
      <p:ext uri="{BB962C8B-B14F-4D97-AF65-F5344CB8AC3E}">
        <p14:creationId xmlns:p14="http://schemas.microsoft.com/office/powerpoint/2010/main" val="2657554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lvl="0"/>
            <a:r>
              <a:rPr lang="es-ES" dirty="0"/>
              <a:t>Costos de transporte.</a:t>
            </a:r>
          </a:p>
          <a:p>
            <a:pPr lvl="0"/>
            <a:endParaRPr lang="es-ES" dirty="0"/>
          </a:p>
          <a:p>
            <a:pPr lvl="1"/>
            <a:r>
              <a:rPr lang="es-ES" dirty="0"/>
              <a:t>Según UNCTAD, un incremento previsto de 16% en el precio del petróleo traerá como consecuencia un aumento de entre 8 y 16% en los costos de transporte.</a:t>
            </a:r>
          </a:p>
          <a:p>
            <a:pPr lvl="1"/>
            <a:endParaRPr lang="es-ES" dirty="0"/>
          </a:p>
          <a:p>
            <a:pPr lvl="1"/>
            <a:r>
              <a:rPr lang="es-ES" dirty="0"/>
              <a:t>No obstante, factores como mejora en infraestructura, facilitación de comercio y aumento de la oferta de servicios logísticos reducirán los costos de transporte. Esta reducción compensaría con creces el aumento causado por los precios de los combustibles.</a:t>
            </a:r>
          </a:p>
          <a:p>
            <a:pPr lvl="1"/>
            <a:endParaRPr lang="es-ES" dirty="0"/>
          </a:p>
          <a:p>
            <a:pPr lvl="1"/>
            <a:r>
              <a:rPr lang="es-ES" dirty="0"/>
              <a:t>Si estos avances no llegaran a tener lugar, el aumento previsible de los precios de los combustibles daría lugar a una intensificación en la regionalización del comercio y una mayor participación del intercambio de productos de alta calidad. Esta mayor intensificación tendría lugar debido a que ante un mayor costo de transporte el comercio se concentraría en productos con un menor ratio costo de transporte / valor del producto.</a:t>
            </a:r>
          </a:p>
        </p:txBody>
      </p:sp>
      <p:sp>
        <p:nvSpPr>
          <p:cNvPr id="4" name="3 Marcador de número de diapositiva"/>
          <p:cNvSpPr>
            <a:spLocks noGrp="1"/>
          </p:cNvSpPr>
          <p:nvPr>
            <p:ph type="sldNum" sz="quarter" idx="10"/>
          </p:nvPr>
        </p:nvSpPr>
        <p:spPr/>
        <p:txBody>
          <a:bodyPr/>
          <a:lstStyle/>
          <a:p>
            <a:fld id="{3D83A1A7-B6A4-47E3-B2CB-D779630E688A}" type="slidenum">
              <a:rPr lang="es-ES" smtClean="0"/>
              <a:pPr/>
              <a:t>7</a:t>
            </a:fld>
            <a:endParaRPr lang="es-ES"/>
          </a:p>
        </p:txBody>
      </p:sp>
    </p:spTree>
    <p:extLst>
      <p:ext uri="{BB962C8B-B14F-4D97-AF65-F5344CB8AC3E}">
        <p14:creationId xmlns:p14="http://schemas.microsoft.com/office/powerpoint/2010/main" val="1577540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lvl="0"/>
            <a:r>
              <a:rPr lang="es-ES" dirty="0"/>
              <a:t>Preocupaciones macroeconómicas y financieras</a:t>
            </a:r>
          </a:p>
          <a:p>
            <a:pPr lvl="0"/>
            <a:endParaRPr lang="es-ES" dirty="0"/>
          </a:p>
          <a:p>
            <a:pPr lvl="1"/>
            <a:r>
              <a:rPr lang="es-ES" dirty="0"/>
              <a:t>El elevado número de deudas tóxicas generadas antes de la crisis tendrá como resultado una reorientación del financiamiento hacia el sector real de la economía, favoreciendo el crédito disponible para actividades productivas y comercio.</a:t>
            </a:r>
          </a:p>
          <a:p>
            <a:pPr lvl="1"/>
            <a:endParaRPr lang="es-ES" dirty="0"/>
          </a:p>
          <a:p>
            <a:pPr lvl="1"/>
            <a:r>
              <a:rPr lang="es-ES" dirty="0"/>
              <a:t>No obstante, harán falta medidas adicionales por parte de organismos nacionales de supervisión para que el segmento inferior del sector real (</a:t>
            </a:r>
            <a:r>
              <a:rPr lang="es-ES" dirty="0" err="1"/>
              <a:t>mypes</a:t>
            </a:r>
            <a:r>
              <a:rPr lang="es-ES" dirty="0"/>
              <a:t> y consumidores de ingresos bajos) se vea beneficiado de la mayor disponibilidad de crédito, pues todavía no es reconocido como un sector de bajo riesgo.</a:t>
            </a:r>
          </a:p>
          <a:p>
            <a:endParaRPr lang="es-ES" dirty="0"/>
          </a:p>
        </p:txBody>
      </p:sp>
      <p:sp>
        <p:nvSpPr>
          <p:cNvPr id="4" name="3 Marcador de número de diapositiva"/>
          <p:cNvSpPr>
            <a:spLocks noGrp="1"/>
          </p:cNvSpPr>
          <p:nvPr>
            <p:ph type="sldNum" sz="quarter" idx="10"/>
          </p:nvPr>
        </p:nvSpPr>
        <p:spPr/>
        <p:txBody>
          <a:bodyPr/>
          <a:lstStyle/>
          <a:p>
            <a:fld id="{3D83A1A7-B6A4-47E3-B2CB-D779630E688A}" type="slidenum">
              <a:rPr lang="es-ES" smtClean="0"/>
              <a:pPr/>
              <a:t>8</a:t>
            </a:fld>
            <a:endParaRPr lang="es-ES"/>
          </a:p>
        </p:txBody>
      </p:sp>
    </p:spTree>
    <p:extLst>
      <p:ext uri="{BB962C8B-B14F-4D97-AF65-F5344CB8AC3E}">
        <p14:creationId xmlns:p14="http://schemas.microsoft.com/office/powerpoint/2010/main" val="73373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D83A1A7-B6A4-47E3-B2CB-D779630E688A}" type="slidenum">
              <a:rPr lang="es-ES" smtClean="0"/>
              <a:pPr/>
              <a:t>9</a:t>
            </a:fld>
            <a:endParaRPr lang="es-ES"/>
          </a:p>
        </p:txBody>
      </p:sp>
    </p:spTree>
    <p:extLst>
      <p:ext uri="{BB962C8B-B14F-4D97-AF65-F5344CB8AC3E}">
        <p14:creationId xmlns:p14="http://schemas.microsoft.com/office/powerpoint/2010/main" val="30540986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1559A6A7-937A-479F-BD2B-9423E317985A}" type="slidenum">
              <a:rPr lang="es-PE" smtClean="0"/>
              <a:pPr/>
              <a:t>10</a:t>
            </a:fld>
            <a:endParaRPr lang="es-PE"/>
          </a:p>
        </p:txBody>
      </p:sp>
    </p:spTree>
    <p:extLst>
      <p:ext uri="{BB962C8B-B14F-4D97-AF65-F5344CB8AC3E}">
        <p14:creationId xmlns:p14="http://schemas.microsoft.com/office/powerpoint/2010/main" val="4133704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1559A6A7-937A-479F-BD2B-9423E317985A}" type="slidenum">
              <a:rPr lang="es-PE" smtClean="0"/>
              <a:pPr/>
              <a:t>11</a:t>
            </a:fld>
            <a:endParaRPr lang="es-PE"/>
          </a:p>
        </p:txBody>
      </p:sp>
    </p:spTree>
    <p:extLst>
      <p:ext uri="{BB962C8B-B14F-4D97-AF65-F5344CB8AC3E}">
        <p14:creationId xmlns:p14="http://schemas.microsoft.com/office/powerpoint/2010/main" val="34732288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28600"/>
            <a:ext cx="7772400" cy="4571999"/>
          </a:xfrm>
        </p:spPr>
        <p:txBody>
          <a:bodyPr anchor="ctr">
            <a:noAutofit/>
          </a:bodyPr>
          <a:lstStyle>
            <a:lvl1pPr>
              <a:lnSpc>
                <a:spcPct val="100000"/>
              </a:lnSpc>
              <a:defRPr sz="8800" spc="-80" baseline="0">
                <a:solidFill>
                  <a:schemeClr val="tx1"/>
                </a:solidFill>
              </a:defRPr>
            </a:lvl1pPr>
          </a:lstStyle>
          <a:p>
            <a:r>
              <a:rPr lang="es-ES" smtClean="0"/>
              <a:t>Haga clic para modificar el estilo de título del patrón</a:t>
            </a:r>
            <a:endParaRPr lang="en-US" dirty="0"/>
          </a:p>
        </p:txBody>
      </p:sp>
      <p:sp>
        <p:nvSpPr>
          <p:cNvPr id="3" name="Subtitle 2"/>
          <p:cNvSpPr>
            <a:spLocks noGrp="1"/>
          </p:cNvSpPr>
          <p:nvPr>
            <p:ph type="subTitle" idx="1"/>
          </p:nvPr>
        </p:nvSpPr>
        <p:spPr>
          <a:xfrm>
            <a:off x="457200" y="4800600"/>
            <a:ext cx="6858000" cy="914400"/>
          </a:xfrm>
        </p:spPr>
        <p:txBody>
          <a:bodyPr/>
          <a:lstStyle>
            <a:lvl1pPr marL="0" indent="0" algn="l">
              <a:buNone/>
              <a:defRPr b="0" cap="all" spc="12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n-US" dirty="0"/>
          </a:p>
        </p:txBody>
      </p:sp>
      <p:sp>
        <p:nvSpPr>
          <p:cNvPr id="4" name="Date Placeholder 3"/>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5" name="Footer Placeholder 4"/>
          <p:cNvSpPr>
            <a:spLocks noGrp="1"/>
          </p:cNvSpPr>
          <p:nvPr>
            <p:ph type="ftr" sz="quarter" idx="11"/>
          </p:nvPr>
        </p:nvSpPr>
        <p:spPr/>
        <p:txBody>
          <a:bodyPr/>
          <a:lstStyle/>
          <a:p>
            <a:endParaRPr lang="es-ES"/>
          </a:p>
        </p:txBody>
      </p:sp>
      <p:sp>
        <p:nvSpPr>
          <p:cNvPr id="9" name="Rectangle 8"/>
          <p:cNvSpPr/>
          <p:nvPr/>
        </p:nvSpPr>
        <p:spPr>
          <a:xfrm>
            <a:off x="9001124" y="4846320"/>
            <a:ext cx="142876" cy="2011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9001124" y="0"/>
            <a:ext cx="142876" cy="4846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4042BF47-51D5-4747-88A1-E7AE8A878E9E}" type="slidenum">
              <a:rPr lang="es-ES" smtClean="0"/>
              <a:pPr/>
              <a:t>‹Nº›</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a:p>
        </p:txBody>
      </p:sp>
      <p:sp>
        <p:nvSpPr>
          <p:cNvPr id="3" name="Vertical Text Placeholder 2"/>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Date Placeholder 3"/>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4042BF47-51D5-4747-88A1-E7AE8A878E9E}" type="slidenum">
              <a:rPr lang="es-ES" smtClean="0"/>
              <a:pPr/>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Date Placeholder 3"/>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4042BF47-51D5-4747-88A1-E7AE8A878E9E}" type="slidenum">
              <a:rPr lang="es-ES" smtClean="0"/>
              <a:pPr/>
              <a:t>‹Nº›</a:t>
            </a:fld>
            <a:endParaRPr lang="es-E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pic>
        <p:nvPicPr>
          <p:cNvPr id="482306" name="Picture 2"/>
          <p:cNvPicPr>
            <a:picLocks noChangeAspect="1" noChangeArrowheads="1"/>
          </p:cNvPicPr>
          <p:nvPr userDrawn="1"/>
        </p:nvPicPr>
        <p:blipFill>
          <a:blip r:embed="rId2" cstate="print"/>
          <a:srcRect/>
          <a:stretch>
            <a:fillRect/>
          </a:stretch>
        </p:blipFill>
        <p:spPr bwMode="auto">
          <a:xfrm>
            <a:off x="7020272" y="5589240"/>
            <a:ext cx="1876425" cy="1009650"/>
          </a:xfrm>
          <a:prstGeom prst="rect">
            <a:avLst/>
          </a:prstGeom>
          <a:noFill/>
          <a:ln w="9525">
            <a:noFill/>
            <a:miter lim="800000"/>
            <a:headEnd/>
            <a:tailEnd/>
          </a:ln>
        </p:spPr>
      </p:pic>
    </p:spTree>
  </p:cSld>
  <p:clrMapOvr>
    <a:masterClrMapping/>
  </p:clrMapOvr>
  <p:transition>
    <p:pull dir="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grpSp>
        <p:nvGrpSpPr>
          <p:cNvPr id="4" name="7 Grupo"/>
          <p:cNvGrpSpPr>
            <a:grpSpLocks/>
          </p:cNvGrpSpPr>
          <p:nvPr/>
        </p:nvGrpSpPr>
        <p:grpSpPr bwMode="auto">
          <a:xfrm>
            <a:off x="0" y="0"/>
            <a:ext cx="9144000" cy="6858000"/>
            <a:chOff x="0" y="0"/>
            <a:chExt cx="9144000" cy="6858000"/>
          </a:xfrm>
        </p:grpSpPr>
        <p:pic>
          <p:nvPicPr>
            <p:cNvPr id="5" name="Picture 5" descr="CARA4.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CARA4.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4077072"/>
              <a:ext cx="6804248" cy="1728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descr="CARA4.jp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4008" y="4149080"/>
              <a:ext cx="4499992"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1 Título"/>
          <p:cNvSpPr>
            <a:spLocks noGrp="1"/>
          </p:cNvSpPr>
          <p:nvPr>
            <p:ph type="ctrTitle"/>
          </p:nvPr>
        </p:nvSpPr>
        <p:spPr>
          <a:xfrm>
            <a:off x="685800" y="2130425"/>
            <a:ext cx="7772400" cy="1470025"/>
          </a:xfrm>
        </p:spPr>
        <p:txBody>
          <a:bodyPr/>
          <a:lstStyle>
            <a:lvl1pPr>
              <a:defRPr sz="3200" b="1">
                <a:solidFill>
                  <a:schemeClr val="bg1"/>
                </a:solidFill>
                <a:latin typeface="Bree Peru Regular"/>
              </a:defRPr>
            </a:lvl1pPr>
          </a:lstStyle>
          <a:p>
            <a:r>
              <a:rPr lang="es-ES" smtClean="0"/>
              <a:t>Haga clic para modificar el estilo de título del patrón</a:t>
            </a:r>
            <a:endParaRPr lang="es-MX"/>
          </a:p>
        </p:txBody>
      </p:sp>
      <p:sp>
        <p:nvSpPr>
          <p:cNvPr id="3" name="2 Subtítulo"/>
          <p:cNvSpPr>
            <a:spLocks noGrp="1"/>
          </p:cNvSpPr>
          <p:nvPr>
            <p:ph type="subTitle" idx="1"/>
          </p:nvPr>
        </p:nvSpPr>
        <p:spPr>
          <a:xfrm>
            <a:off x="1371600" y="3886200"/>
            <a:ext cx="6400800" cy="1752600"/>
          </a:xfrm>
        </p:spPr>
        <p:txBody>
          <a:bodyPr/>
          <a:lstStyle>
            <a:lvl1pPr marL="0" indent="0" algn="ctr">
              <a:buNone/>
              <a:defRPr sz="2400">
                <a:solidFill>
                  <a:schemeClr val="bg1"/>
                </a:solidFill>
                <a:latin typeface="Bree Peru Light"/>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MX" dirty="0"/>
          </a:p>
        </p:txBody>
      </p:sp>
      <p:grpSp>
        <p:nvGrpSpPr>
          <p:cNvPr id="8" name="7 Grupo"/>
          <p:cNvGrpSpPr>
            <a:grpSpLocks/>
          </p:cNvGrpSpPr>
          <p:nvPr userDrawn="1"/>
        </p:nvGrpSpPr>
        <p:grpSpPr bwMode="auto">
          <a:xfrm>
            <a:off x="0" y="0"/>
            <a:ext cx="9144000" cy="6858000"/>
            <a:chOff x="0" y="0"/>
            <a:chExt cx="9144000" cy="6858000"/>
          </a:xfrm>
        </p:grpSpPr>
        <p:pic>
          <p:nvPicPr>
            <p:cNvPr id="9" name="Picture 5" descr="CARA4.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CARA4.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4077072"/>
              <a:ext cx="6804248" cy="1728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5" descr="CARA4.jp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4008" y="4149080"/>
              <a:ext cx="4499992"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2309723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ítulo y objetos">
    <p:spTree>
      <p:nvGrpSpPr>
        <p:cNvPr id="1" name=""/>
        <p:cNvGrpSpPr/>
        <p:nvPr/>
      </p:nvGrpSpPr>
      <p:grpSpPr>
        <a:xfrm>
          <a:off x="0" y="0"/>
          <a:ext cx="0" cy="0"/>
          <a:chOff x="0" y="0"/>
          <a:chExt cx="0" cy="0"/>
        </a:xfrm>
      </p:grpSpPr>
      <p:pic>
        <p:nvPicPr>
          <p:cNvPr id="2" name="Picture 5" descr="CABECERA4.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CABECERA4.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97422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fourObj">
  <p:cSld name="Título y 4 objetos">
    <p:spTree>
      <p:nvGrpSpPr>
        <p:cNvPr id="1" name=""/>
        <p:cNvGrpSpPr/>
        <p:nvPr/>
      </p:nvGrpSpPr>
      <p:grpSpPr>
        <a:xfrm>
          <a:off x="0" y="0"/>
          <a:ext cx="0" cy="0"/>
          <a:chOff x="0" y="0"/>
          <a:chExt cx="0" cy="0"/>
        </a:xfrm>
      </p:grpSpPr>
      <p:sp>
        <p:nvSpPr>
          <p:cNvPr id="2" name="1 Título"/>
          <p:cNvSpPr>
            <a:spLocks noGrp="1"/>
          </p:cNvSpPr>
          <p:nvPr>
            <p:ph type="title" sz="quarter"/>
          </p:nvPr>
        </p:nvSpPr>
        <p:spPr>
          <a:xfrm>
            <a:off x="685800" y="609600"/>
            <a:ext cx="7772400" cy="1143000"/>
          </a:xfrm>
        </p:spPr>
        <p:txBody>
          <a:bodyPr/>
          <a:lstStyle/>
          <a:p>
            <a:r>
              <a:rPr lang="es-ES" smtClean="0"/>
              <a:t>Haga clic para modificar el estilo de título del patrón</a:t>
            </a:r>
            <a:endParaRPr lang="es-MX"/>
          </a:p>
        </p:txBody>
      </p:sp>
      <p:sp>
        <p:nvSpPr>
          <p:cNvPr id="3" name="2 Marcador de contenido"/>
          <p:cNvSpPr>
            <a:spLocks noGrp="1"/>
          </p:cNvSpPr>
          <p:nvPr>
            <p:ph sz="quarter" idx="1"/>
          </p:nvPr>
        </p:nvSpPr>
        <p:spPr>
          <a:xfrm>
            <a:off x="685800" y="1981200"/>
            <a:ext cx="3810000" cy="19812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contenido"/>
          <p:cNvSpPr>
            <a:spLocks noGrp="1"/>
          </p:cNvSpPr>
          <p:nvPr>
            <p:ph sz="quarter" idx="2"/>
          </p:nvPr>
        </p:nvSpPr>
        <p:spPr>
          <a:xfrm>
            <a:off x="4648200" y="1981200"/>
            <a:ext cx="3810000" cy="19812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4 Marcador de contenido"/>
          <p:cNvSpPr>
            <a:spLocks noGrp="1"/>
          </p:cNvSpPr>
          <p:nvPr>
            <p:ph sz="quarter" idx="3"/>
          </p:nvPr>
        </p:nvSpPr>
        <p:spPr>
          <a:xfrm>
            <a:off x="685800" y="4114800"/>
            <a:ext cx="3810000" cy="19812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6" name="5 Marcador de contenido"/>
          <p:cNvSpPr>
            <a:spLocks noGrp="1"/>
          </p:cNvSpPr>
          <p:nvPr>
            <p:ph sz="quarter" idx="4"/>
          </p:nvPr>
        </p:nvSpPr>
        <p:spPr>
          <a:xfrm>
            <a:off x="4648200" y="4114800"/>
            <a:ext cx="3810000" cy="19812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7" name="6 Marcador de fecha"/>
          <p:cNvSpPr>
            <a:spLocks noGrp="1"/>
          </p:cNvSpPr>
          <p:nvPr>
            <p:ph type="dt" sz="half" idx="10"/>
          </p:nvPr>
        </p:nvSpPr>
        <p:spPr>
          <a:xfrm>
            <a:off x="685800" y="6248400"/>
            <a:ext cx="1905000" cy="457200"/>
          </a:xfrm>
        </p:spPr>
        <p:txBody>
          <a:bodyPr/>
          <a:lstStyle>
            <a:lvl1pPr>
              <a:defRPr/>
            </a:lvl1pPr>
          </a:lstStyle>
          <a:p>
            <a:pPr>
              <a:defRPr/>
            </a:pPr>
            <a:endParaRPr lang="es-PE">
              <a:solidFill>
                <a:srgbClr val="000000"/>
              </a:solidFill>
            </a:endParaRPr>
          </a:p>
        </p:txBody>
      </p:sp>
      <p:sp>
        <p:nvSpPr>
          <p:cNvPr id="8" name="7 Marcador de pie de página"/>
          <p:cNvSpPr>
            <a:spLocks noGrp="1"/>
          </p:cNvSpPr>
          <p:nvPr>
            <p:ph type="ftr" sz="quarter" idx="11"/>
          </p:nvPr>
        </p:nvSpPr>
        <p:spPr>
          <a:xfrm>
            <a:off x="3124200" y="6248400"/>
            <a:ext cx="2895600" cy="457200"/>
          </a:xfrm>
        </p:spPr>
        <p:txBody>
          <a:bodyPr/>
          <a:lstStyle>
            <a:lvl1pPr>
              <a:defRPr/>
            </a:lvl1pPr>
          </a:lstStyle>
          <a:p>
            <a:pPr>
              <a:defRPr/>
            </a:pPr>
            <a:endParaRPr lang="es-PE">
              <a:solidFill>
                <a:srgbClr val="000000"/>
              </a:solidFill>
            </a:endParaRPr>
          </a:p>
        </p:txBody>
      </p:sp>
      <p:sp>
        <p:nvSpPr>
          <p:cNvPr id="9" name="8 Marcador de número de diapositiva"/>
          <p:cNvSpPr>
            <a:spLocks noGrp="1"/>
          </p:cNvSpPr>
          <p:nvPr>
            <p:ph type="sldNum" sz="quarter" idx="12"/>
          </p:nvPr>
        </p:nvSpPr>
        <p:spPr>
          <a:xfrm>
            <a:off x="6553200" y="6248400"/>
            <a:ext cx="1905000" cy="457200"/>
          </a:xfrm>
        </p:spPr>
        <p:txBody>
          <a:bodyPr/>
          <a:lstStyle>
            <a:lvl1pPr>
              <a:defRPr/>
            </a:lvl1pPr>
          </a:lstStyle>
          <a:p>
            <a:pPr>
              <a:defRPr/>
            </a:pPr>
            <a:fld id="{0373DF66-74DB-4E21-ABB5-D91666992A9A}" type="slidenum">
              <a:rPr lang="es-ES" smtClean="0">
                <a:solidFill>
                  <a:srgbClr val="000000"/>
                </a:solidFill>
              </a:rPr>
              <a:pPr>
                <a:defRPr/>
              </a:pPr>
              <a:t>‹Nº›</a:t>
            </a:fld>
            <a:endParaRPr lang="es-ES">
              <a:solidFill>
                <a:srgbClr val="000000"/>
              </a:solidFill>
            </a:endParaRPr>
          </a:p>
        </p:txBody>
      </p:sp>
    </p:spTree>
    <p:extLst>
      <p:ext uri="{BB962C8B-B14F-4D97-AF65-F5344CB8AC3E}">
        <p14:creationId xmlns:p14="http://schemas.microsoft.com/office/powerpoint/2010/main" val="2816744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2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0569750"/>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Only">
  <p:cSld name="Contenido">
    <p:spTree>
      <p:nvGrpSpPr>
        <p:cNvPr id="1" name=""/>
        <p:cNvGrpSpPr/>
        <p:nvPr/>
      </p:nvGrpSpPr>
      <p:grpSpPr>
        <a:xfrm>
          <a:off x="0" y="0"/>
          <a:ext cx="0" cy="0"/>
          <a:chOff x="0" y="0"/>
          <a:chExt cx="0" cy="0"/>
        </a:xfrm>
      </p:grpSpPr>
      <p:sp>
        <p:nvSpPr>
          <p:cNvPr id="2" name="1 Marcador de contenido"/>
          <p:cNvSpPr>
            <a:spLocks noGrp="1"/>
          </p:cNvSpPr>
          <p:nvPr>
            <p:ph/>
          </p:nvPr>
        </p:nvSpPr>
        <p:spPr>
          <a:xfrm>
            <a:off x="87313" y="44450"/>
            <a:ext cx="8599487" cy="6081713"/>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3" name="Rectangle 4"/>
          <p:cNvSpPr>
            <a:spLocks noGrp="1" noChangeArrowheads="1"/>
          </p:cNvSpPr>
          <p:nvPr>
            <p:ph type="dt" sz="half" idx="10"/>
          </p:nvPr>
        </p:nvSpPr>
        <p:spPr>
          <a:ln/>
        </p:spPr>
        <p:txBody>
          <a:bodyPr/>
          <a:lstStyle>
            <a:lvl1pPr>
              <a:defRPr/>
            </a:lvl1pPr>
          </a:lstStyle>
          <a:p>
            <a:pPr>
              <a:defRPr/>
            </a:pPr>
            <a:endParaRPr lang="es-PE">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s-PE">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B595CA8-18C4-4D78-9E8B-A8C7BD930B2F}" type="slidenum">
              <a:rPr lang="es-ES" smtClean="0">
                <a:solidFill>
                  <a:srgbClr val="000000"/>
                </a:solidFill>
              </a:rPr>
              <a:pPr>
                <a:defRPr/>
              </a:pPr>
              <a:t>‹Nº›</a:t>
            </a:fld>
            <a:endParaRPr lang="es-ES">
              <a:solidFill>
                <a:srgbClr val="000000"/>
              </a:solidFill>
            </a:endParaRPr>
          </a:p>
        </p:txBody>
      </p:sp>
    </p:spTree>
    <p:extLst>
      <p:ext uri="{BB962C8B-B14F-4D97-AF65-F5344CB8AC3E}">
        <p14:creationId xmlns:p14="http://schemas.microsoft.com/office/powerpoint/2010/main" val="25998450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0" y="1714488"/>
            <a:ext cx="9144000" cy="1143000"/>
          </a:xfrm>
          <a:prstGeom prst="rect">
            <a:avLst/>
          </a:prstGeom>
        </p:spPr>
        <p:txBody>
          <a:bodyPr/>
          <a:lstStyle/>
          <a:p>
            <a:r>
              <a:rPr lang="es-ES_tradnl" smtClean="0"/>
              <a:t>Click to edit Master title style</a:t>
            </a:r>
            <a:endParaRPr lang="es-ES"/>
          </a:p>
        </p:txBody>
      </p:sp>
      <p:sp>
        <p:nvSpPr>
          <p:cNvPr id="3" name="Rectangle 4"/>
          <p:cNvSpPr>
            <a:spLocks noGrp="1" noChangeArrowheads="1"/>
          </p:cNvSpPr>
          <p:nvPr>
            <p:ph type="dt" sz="half" idx="10"/>
          </p:nvPr>
        </p:nvSpPr>
        <p:spPr/>
        <p:txBody>
          <a:bodyPr/>
          <a:lstStyle>
            <a:lvl1pPr>
              <a:defRPr smtClean="0"/>
            </a:lvl1pPr>
          </a:lstStyle>
          <a:p>
            <a:pPr>
              <a:defRPr/>
            </a:pPr>
            <a:endParaRPr lang="en-US">
              <a:solidFill>
                <a:srgbClr val="000000"/>
              </a:solidFill>
            </a:endParaRPr>
          </a:p>
        </p:txBody>
      </p:sp>
      <p:sp>
        <p:nvSpPr>
          <p:cNvPr id="4" name="Rectangle 5"/>
          <p:cNvSpPr>
            <a:spLocks noGrp="1" noChangeArrowheads="1"/>
          </p:cNvSpPr>
          <p:nvPr>
            <p:ph type="ftr" sz="quarter" idx="11"/>
          </p:nvPr>
        </p:nvSpPr>
        <p:spPr/>
        <p:txBody>
          <a:bodyPr/>
          <a:lstStyle>
            <a:lvl1pPr>
              <a:defRPr smtClean="0"/>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p:txBody>
          <a:bodyPr/>
          <a:lstStyle>
            <a:lvl1pPr>
              <a:defRPr smtClean="0"/>
            </a:lvl1pPr>
          </a:lstStyle>
          <a:p>
            <a:pPr>
              <a:defRPr/>
            </a:pPr>
            <a:fld id="{8755C3F2-4D61-4CE6-8C0A-300857B35B80}" type="slidenum">
              <a:rPr lang="es-ES">
                <a:solidFill>
                  <a:srgbClr val="000000"/>
                </a:solidFill>
              </a:rPr>
              <a:pPr>
                <a:defRPr/>
              </a:pPr>
              <a:t>‹Nº›</a:t>
            </a:fld>
            <a:endParaRPr lang="es-ES">
              <a:solidFill>
                <a:srgbClr val="000000"/>
              </a:solidFill>
            </a:endParaRPr>
          </a:p>
        </p:txBody>
      </p:sp>
    </p:spTree>
    <p:extLst>
      <p:ext uri="{BB962C8B-B14F-4D97-AF65-F5344CB8AC3E}">
        <p14:creationId xmlns:p14="http://schemas.microsoft.com/office/powerpoint/2010/main" val="69751846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4_Título y objetos">
    <p:spTree>
      <p:nvGrpSpPr>
        <p:cNvPr id="1" name=""/>
        <p:cNvGrpSpPr/>
        <p:nvPr/>
      </p:nvGrpSpPr>
      <p:grpSpPr>
        <a:xfrm>
          <a:off x="0" y="0"/>
          <a:ext cx="0" cy="0"/>
          <a:chOff x="0" y="0"/>
          <a:chExt cx="0" cy="0"/>
        </a:xfrm>
      </p:grpSpPr>
      <p:pic>
        <p:nvPicPr>
          <p:cNvPr id="2" name="Picture 5" descr="CABECERA4.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063965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a:p>
        </p:txBody>
      </p:sp>
      <p:sp>
        <p:nvSpPr>
          <p:cNvPr id="3" name="Content Placeholder 2"/>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4042BF47-51D5-4747-88A1-E7AE8A878E9E}" type="slidenum">
              <a:rPr lang="es-ES" smtClean="0"/>
              <a:pPr/>
              <a:t>‹Nº›</a:t>
            </a:fld>
            <a:endParaRPr lang="es-E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Título y objetos">
    <p:spTree>
      <p:nvGrpSpPr>
        <p:cNvPr id="1" name=""/>
        <p:cNvGrpSpPr/>
        <p:nvPr/>
      </p:nvGrpSpPr>
      <p:grpSpPr>
        <a:xfrm>
          <a:off x="0" y="0"/>
          <a:ext cx="0" cy="0"/>
          <a:chOff x="0" y="0"/>
          <a:chExt cx="0" cy="0"/>
        </a:xfrm>
      </p:grpSpPr>
      <p:pic>
        <p:nvPicPr>
          <p:cNvPr id="2" name="Picture 5" descr="CABECERA4.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91002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3_Título y objetos">
    <p:spTree>
      <p:nvGrpSpPr>
        <p:cNvPr id="1" name=""/>
        <p:cNvGrpSpPr/>
        <p:nvPr/>
      </p:nvGrpSpPr>
      <p:grpSpPr>
        <a:xfrm>
          <a:off x="0" y="0"/>
          <a:ext cx="0" cy="0"/>
          <a:chOff x="0" y="0"/>
          <a:chExt cx="0" cy="0"/>
        </a:xfrm>
      </p:grpSpPr>
      <p:pic>
        <p:nvPicPr>
          <p:cNvPr id="2" name="Picture 5" descr="CABECERA4.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753041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2" name="Picture 5" descr="CABECERA4.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42184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7649195"/>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ítulo y objetos">
    <p:spTree>
      <p:nvGrpSpPr>
        <p:cNvPr id="1" name=""/>
        <p:cNvGrpSpPr/>
        <p:nvPr/>
      </p:nvGrpSpPr>
      <p:grpSpPr>
        <a:xfrm>
          <a:off x="0" y="0"/>
          <a:ext cx="0" cy="0"/>
          <a:chOff x="0" y="0"/>
          <a:chExt cx="0" cy="0"/>
        </a:xfrm>
      </p:grpSpPr>
      <p:pic>
        <p:nvPicPr>
          <p:cNvPr id="2" name="Picture 5" descr="CABECERA4.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90020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8F8AE624-063A-480B-AE2A-809E2FD5F852}" type="datetimeFigureOut">
              <a:rPr lang="es-PE"/>
              <a:pPr>
                <a:defRPr/>
              </a:pPr>
              <a:t>25/11/2013</a:t>
            </a:fld>
            <a:endParaRPr lang="es-PE"/>
          </a:p>
        </p:txBody>
      </p:sp>
      <p:sp>
        <p:nvSpPr>
          <p:cNvPr id="3" name="Footer Placeholder 4"/>
          <p:cNvSpPr>
            <a:spLocks noGrp="1"/>
          </p:cNvSpPr>
          <p:nvPr>
            <p:ph type="ftr" sz="quarter" idx="11"/>
          </p:nvPr>
        </p:nvSpPr>
        <p:spPr/>
        <p:txBody>
          <a:bodyPr/>
          <a:lstStyle>
            <a:lvl1pPr>
              <a:defRPr/>
            </a:lvl1pPr>
          </a:lstStyle>
          <a:p>
            <a:pPr>
              <a:defRPr/>
            </a:pPr>
            <a:endParaRPr lang="es-PE"/>
          </a:p>
        </p:txBody>
      </p:sp>
      <p:sp>
        <p:nvSpPr>
          <p:cNvPr id="4" name="Slide Number Placeholder 5"/>
          <p:cNvSpPr>
            <a:spLocks noGrp="1"/>
          </p:cNvSpPr>
          <p:nvPr>
            <p:ph type="sldNum" sz="quarter" idx="12"/>
          </p:nvPr>
        </p:nvSpPr>
        <p:spPr/>
        <p:txBody>
          <a:bodyPr/>
          <a:lstStyle>
            <a:lvl1pPr>
              <a:defRPr/>
            </a:lvl1pPr>
          </a:lstStyle>
          <a:p>
            <a:pPr>
              <a:defRPr/>
            </a:pPr>
            <a:fld id="{9B009F1E-1602-4591-9EB5-F194DDB927C3}" type="slidenum">
              <a:rPr lang="es-PE"/>
              <a:pPr>
                <a:defRPr/>
              </a:pPr>
              <a:t>‹Nº›</a:t>
            </a:fld>
            <a:endParaRPr lang="es-PE"/>
          </a:p>
        </p:txBody>
      </p:sp>
    </p:spTree>
    <p:extLst>
      <p:ext uri="{BB962C8B-B14F-4D97-AF65-F5344CB8AC3E}">
        <p14:creationId xmlns:p14="http://schemas.microsoft.com/office/powerpoint/2010/main" val="797672564"/>
      </p:ext>
    </p:extLst>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25980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457200" y="1447800"/>
            <a:ext cx="7772400" cy="4321175"/>
          </a:xfrm>
        </p:spPr>
        <p:txBody>
          <a:bodyPr anchor="ctr">
            <a:noAutofit/>
          </a:bodyPr>
          <a:lstStyle>
            <a:lvl1pPr algn="l">
              <a:lnSpc>
                <a:spcPct val="100000"/>
              </a:lnSpc>
              <a:defRPr sz="8800" b="0" cap="all" spc="-80" baseline="0">
                <a:solidFill>
                  <a:schemeClr val="tx1"/>
                </a:solidFill>
              </a:defRPr>
            </a:lvl1p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457200" y="228601"/>
            <a:ext cx="7772400" cy="1066800"/>
          </a:xfrm>
        </p:spPr>
        <p:txBody>
          <a:bodyPr anchor="b"/>
          <a:lstStyle>
            <a:lvl1pPr marL="0" indent="0">
              <a:buNone/>
              <a:defRPr sz="2000" b="0" cap="all" spc="12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7" name="Date Placeholder 6"/>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8" name="Slide Number Placeholder 7"/>
          <p:cNvSpPr>
            <a:spLocks noGrp="1"/>
          </p:cNvSpPr>
          <p:nvPr>
            <p:ph type="sldNum" sz="quarter" idx="11"/>
          </p:nvPr>
        </p:nvSpPr>
        <p:spPr/>
        <p:txBody>
          <a:bodyPr/>
          <a:lstStyle/>
          <a:p>
            <a:fld id="{4042BF47-51D5-4747-88A1-E7AE8A878E9E}" type="slidenum">
              <a:rPr lang="es-ES" smtClean="0"/>
              <a:pPr/>
              <a:t>‹Nº›</a:t>
            </a:fld>
            <a:endParaRPr lang="es-ES"/>
          </a:p>
        </p:txBody>
      </p:sp>
      <p:sp>
        <p:nvSpPr>
          <p:cNvPr id="9" name="Footer Placeholder 8"/>
          <p:cNvSpPr>
            <a:spLocks noGrp="1"/>
          </p:cNvSpPr>
          <p:nvPr>
            <p:ph type="ftr" sz="quarter" idx="12"/>
          </p:nvPr>
        </p:nvSpPr>
        <p:spPr/>
        <p:txBody>
          <a:bodyPr/>
          <a:lstStyle/>
          <a:p>
            <a:endParaRPr lang="es-E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a:p>
        </p:txBody>
      </p:sp>
      <p:sp>
        <p:nvSpPr>
          <p:cNvPr id="3" name="Content Placeholder 2"/>
          <p:cNvSpPr>
            <a:spLocks noGrp="1"/>
          </p:cNvSpPr>
          <p:nvPr>
            <p:ph sz="half" idx="1"/>
          </p:nvPr>
        </p:nvSpPr>
        <p:spPr>
          <a:xfrm>
            <a:off x="1630680" y="1574800"/>
            <a:ext cx="329184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Content Placeholder 3"/>
          <p:cNvSpPr>
            <a:spLocks noGrp="1"/>
          </p:cNvSpPr>
          <p:nvPr>
            <p:ph sz="half" idx="2"/>
          </p:nvPr>
        </p:nvSpPr>
        <p:spPr>
          <a:xfrm>
            <a:off x="5090160" y="1574800"/>
            <a:ext cx="329184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Date Placeholder 4"/>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4042BF47-51D5-4747-88A1-E7AE8A878E9E}" type="slidenum">
              <a:rPr lang="es-ES" smtClean="0"/>
              <a:pPr/>
              <a:t>‹Nº›</a:t>
            </a:fld>
            <a:endParaRPr lang="es-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s-ES" smtClean="0"/>
              <a:t>Haga clic para modificar el estilo de título del patrón</a:t>
            </a:r>
            <a:endParaRPr lang="en-US"/>
          </a:p>
        </p:txBody>
      </p:sp>
      <p:sp>
        <p:nvSpPr>
          <p:cNvPr id="3" name="Text Placeholder 2"/>
          <p:cNvSpPr>
            <a:spLocks noGrp="1"/>
          </p:cNvSpPr>
          <p:nvPr>
            <p:ph type="body" idx="1"/>
          </p:nvPr>
        </p:nvSpPr>
        <p:spPr>
          <a:xfrm>
            <a:off x="1627632" y="1572768"/>
            <a:ext cx="3291840" cy="639762"/>
          </a:xfrm>
        </p:spPr>
        <p:txBody>
          <a:bodyPr anchor="b">
            <a:noAutofit/>
          </a:bodyPr>
          <a:lstStyle>
            <a:lvl1pPr marL="0" indent="0">
              <a:buNone/>
              <a:defRPr sz="1800" b="0" cap="all" spc="10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Content Placeholder 3"/>
          <p:cNvSpPr>
            <a:spLocks noGrp="1"/>
          </p:cNvSpPr>
          <p:nvPr>
            <p:ph sz="half" idx="2"/>
          </p:nvPr>
        </p:nvSpPr>
        <p:spPr>
          <a:xfrm>
            <a:off x="1627632" y="2259366"/>
            <a:ext cx="3291840" cy="38404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Text Placeholder 4"/>
          <p:cNvSpPr>
            <a:spLocks noGrp="1"/>
          </p:cNvSpPr>
          <p:nvPr>
            <p:ph type="body" sz="quarter" idx="3"/>
          </p:nvPr>
        </p:nvSpPr>
        <p:spPr>
          <a:xfrm>
            <a:off x="5093208" y="1572768"/>
            <a:ext cx="3291840" cy="639762"/>
          </a:xfrm>
        </p:spPr>
        <p:txBody>
          <a:bodyPr anchor="b">
            <a:noAutofit/>
          </a:bodyPr>
          <a:lstStyle>
            <a:lvl1pPr marL="0" indent="0">
              <a:buNone/>
              <a:defRPr lang="en-US" sz="1800" b="0" kern="1200" cap="all" spc="100" baseline="0" dirty="0" smtClean="0">
                <a:solidFill>
                  <a:schemeClr val="tx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spcBef>
                <a:spcPct val="20000"/>
              </a:spcBef>
              <a:buFont typeface="Arial" pitchFamily="34" charset="0"/>
              <a:buNone/>
            </a:pPr>
            <a:r>
              <a:rPr lang="es-ES" smtClean="0"/>
              <a:t>Haga clic para modificar el estilo de texto del patrón</a:t>
            </a:r>
          </a:p>
        </p:txBody>
      </p:sp>
      <p:sp>
        <p:nvSpPr>
          <p:cNvPr id="6" name="Content Placeholder 5"/>
          <p:cNvSpPr>
            <a:spLocks noGrp="1"/>
          </p:cNvSpPr>
          <p:nvPr>
            <p:ph sz="quarter" idx="4"/>
          </p:nvPr>
        </p:nvSpPr>
        <p:spPr>
          <a:xfrm>
            <a:off x="5093208" y="2259366"/>
            <a:ext cx="3291840" cy="38404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7" name="Date Placeholder 6"/>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4042BF47-51D5-4747-88A1-E7AE8A878E9E}" type="slidenum">
              <a:rPr lang="es-ES" smtClean="0"/>
              <a:pPr/>
              <a:t>‹Nº›</a:t>
            </a:fld>
            <a:endParaRPr lang="es-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a:p>
        </p:txBody>
      </p:sp>
      <p:sp>
        <p:nvSpPr>
          <p:cNvPr id="3" name="Date Placeholder 2"/>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4042BF47-51D5-4747-88A1-E7AE8A878E9E}" type="slidenum">
              <a:rPr lang="es-ES" smtClean="0"/>
              <a:pPr/>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4042BF47-51D5-4747-88A1-E7AE8A878E9E}" type="slidenum">
              <a:rPr lang="es-ES" smtClean="0"/>
              <a:pPr/>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600200"/>
            <a:ext cx="5111750" cy="448056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Text Placeholder 3"/>
          <p:cNvSpPr>
            <a:spLocks noGrp="1"/>
          </p:cNvSpPr>
          <p:nvPr>
            <p:ph type="body" sz="half" idx="2"/>
          </p:nvPr>
        </p:nvSpPr>
        <p:spPr>
          <a:xfrm>
            <a:off x="457200" y="1600200"/>
            <a:ext cx="3008313" cy="448056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Date Placeholder 4"/>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4042BF47-51D5-4747-88A1-E7AE8A878E9E}" type="slidenum">
              <a:rPr lang="es-ES" smtClean="0"/>
              <a:pPr/>
              <a:t>‹Nº›</a:t>
            </a:fld>
            <a:endParaRPr lang="es-ES"/>
          </a:p>
        </p:txBody>
      </p:sp>
      <p:sp>
        <p:nvSpPr>
          <p:cNvPr id="8" name="Title 7"/>
          <p:cNvSpPr>
            <a:spLocks noGrp="1"/>
          </p:cNvSpPr>
          <p:nvPr>
            <p:ph type="title"/>
          </p:nvPr>
        </p:nvSpPr>
        <p:spPr/>
        <p:txBody>
          <a:bodyPr/>
          <a:lstStyle/>
          <a:p>
            <a:r>
              <a:rPr lang="es-ES" smtClean="0"/>
              <a:t>Haga clic para modificar el estilo de título del patrón</a:t>
            </a: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Rectangle 8"/>
          <p:cNvSpPr/>
          <p:nvPr/>
        </p:nvSpPr>
        <p:spPr>
          <a:xfrm>
            <a:off x="9001124" y="4846320"/>
            <a:ext cx="142876" cy="2011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1" y="0"/>
            <a:ext cx="9000877" cy="4846320"/>
          </a:xfrm>
          <a:solidFill>
            <a:schemeClr val="bg1">
              <a:lumMod val="7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smtClean="0"/>
              <a:t>Haga clic en el icono para agregar una imagen</a:t>
            </a:r>
            <a:endParaRPr lang="en-US"/>
          </a:p>
        </p:txBody>
      </p:sp>
      <p:sp>
        <p:nvSpPr>
          <p:cNvPr id="4" name="Text Placeholder 3"/>
          <p:cNvSpPr>
            <a:spLocks noGrp="1"/>
          </p:cNvSpPr>
          <p:nvPr>
            <p:ph type="body" sz="half" idx="2"/>
          </p:nvPr>
        </p:nvSpPr>
        <p:spPr>
          <a:xfrm>
            <a:off x="457200" y="5715000"/>
            <a:ext cx="8153400" cy="457200"/>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Date Placeholder 4"/>
          <p:cNvSpPr>
            <a:spLocks noGrp="1"/>
          </p:cNvSpPr>
          <p:nvPr>
            <p:ph type="dt" sz="half" idx="10"/>
          </p:nvPr>
        </p:nvSpPr>
        <p:spPr/>
        <p:txBody>
          <a:bodyPr/>
          <a:lstStyle/>
          <a:p>
            <a:fld id="{EB61D4C5-BCBA-481E-97BE-5A45892EE400}" type="datetimeFigureOut">
              <a:rPr lang="es-ES" smtClean="0"/>
              <a:pPr/>
              <a:t>25/11/2013</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4042BF47-51D5-4747-88A1-E7AE8A878E9E}" type="slidenum">
              <a:rPr lang="es-ES" smtClean="0"/>
              <a:pPr/>
              <a:t>‹Nº›</a:t>
            </a:fld>
            <a:endParaRPr lang="es-ES"/>
          </a:p>
        </p:txBody>
      </p:sp>
      <p:sp>
        <p:nvSpPr>
          <p:cNvPr id="8" name="Title 7"/>
          <p:cNvSpPr>
            <a:spLocks noGrp="1"/>
          </p:cNvSpPr>
          <p:nvPr>
            <p:ph type="title"/>
          </p:nvPr>
        </p:nvSpPr>
        <p:spPr>
          <a:xfrm>
            <a:off x="457200" y="4953000"/>
            <a:ext cx="8153400" cy="762000"/>
          </a:xfrm>
        </p:spPr>
        <p:txBody>
          <a:bodyPr anchor="t">
            <a:normAutofit/>
          </a:bodyPr>
          <a:lstStyle>
            <a:lvl1pPr>
              <a:defRPr sz="3200"/>
            </a:lvl1pPr>
          </a:lstStyle>
          <a:p>
            <a:r>
              <a:rPr lang="es-ES" smtClean="0"/>
              <a:t>Haga clic para modificar el estilo de título del patrón</a:t>
            </a:r>
            <a:endParaRPr lang="en-US" dirty="0"/>
          </a:p>
        </p:txBody>
      </p:sp>
      <p:sp>
        <p:nvSpPr>
          <p:cNvPr id="10" name="Rectangle 9"/>
          <p:cNvSpPr/>
          <p:nvPr/>
        </p:nvSpPr>
        <p:spPr>
          <a:xfrm>
            <a:off x="9001124" y="0"/>
            <a:ext cx="142876" cy="4846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718"/>
            <a:ext cx="5791200" cy="1371600"/>
          </a:xfrm>
          <a:prstGeom prst="rect">
            <a:avLst/>
          </a:prstGeom>
        </p:spPr>
        <p:txBody>
          <a:bodyPr vert="horz" lIns="91440" tIns="45720" rIns="91440" bIns="45720" rtlCol="0" anchor="b">
            <a:normAutofit/>
          </a:body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457200" y="1752600"/>
            <a:ext cx="7620000" cy="43735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2"/>
          </p:nvPr>
        </p:nvSpPr>
        <p:spPr>
          <a:xfrm>
            <a:off x="457200" y="6172201"/>
            <a:ext cx="3429000" cy="304800"/>
          </a:xfrm>
          <a:prstGeom prst="rect">
            <a:avLst/>
          </a:prstGeom>
        </p:spPr>
        <p:txBody>
          <a:bodyPr vert="horz" lIns="91440" tIns="45720" rIns="91440" bIns="0" rtlCol="0" anchor="b"/>
          <a:lstStyle>
            <a:lvl1pPr algn="l">
              <a:defRPr sz="1000">
                <a:solidFill>
                  <a:schemeClr val="tx1"/>
                </a:solidFill>
              </a:defRPr>
            </a:lvl1pPr>
          </a:lstStyle>
          <a:p>
            <a:fld id="{EB61D4C5-BCBA-481E-97BE-5A45892EE400}" type="datetimeFigureOut">
              <a:rPr lang="es-ES" smtClean="0"/>
              <a:pPr/>
              <a:t>25/11/2013</a:t>
            </a:fld>
            <a:endParaRPr lang="es-ES"/>
          </a:p>
        </p:txBody>
      </p:sp>
      <p:sp>
        <p:nvSpPr>
          <p:cNvPr id="5" name="Footer Placeholder 4"/>
          <p:cNvSpPr>
            <a:spLocks noGrp="1"/>
          </p:cNvSpPr>
          <p:nvPr>
            <p:ph type="ftr" sz="quarter" idx="3"/>
          </p:nvPr>
        </p:nvSpPr>
        <p:spPr>
          <a:xfrm>
            <a:off x="457200" y="6492875"/>
            <a:ext cx="3429000" cy="283845"/>
          </a:xfrm>
          <a:prstGeom prst="rect">
            <a:avLst/>
          </a:prstGeom>
        </p:spPr>
        <p:txBody>
          <a:bodyPr vert="horz" lIns="91440" tIns="45720" rIns="91440" bIns="45720" rtlCol="0" anchor="t"/>
          <a:lstStyle>
            <a:lvl1pPr algn="l">
              <a:defRPr sz="1000">
                <a:solidFill>
                  <a:schemeClr val="tx1"/>
                </a:solidFill>
              </a:defRPr>
            </a:lvl1pPr>
          </a:lstStyle>
          <a:p>
            <a:endParaRPr lang="es-ES"/>
          </a:p>
        </p:txBody>
      </p:sp>
      <p:sp>
        <p:nvSpPr>
          <p:cNvPr id="6" name="Slide Number Placeholder 5"/>
          <p:cNvSpPr>
            <a:spLocks noGrp="1"/>
          </p:cNvSpPr>
          <p:nvPr>
            <p:ph type="sldNum" sz="quarter" idx="4"/>
          </p:nvPr>
        </p:nvSpPr>
        <p:spPr>
          <a:xfrm rot="16200000">
            <a:off x="8227377" y="5885497"/>
            <a:ext cx="1315721" cy="365125"/>
          </a:xfrm>
          <a:prstGeom prst="rect">
            <a:avLst/>
          </a:prstGeom>
        </p:spPr>
        <p:txBody>
          <a:bodyPr vert="horz" lIns="91440" tIns="45720" rIns="91440" bIns="45720" rtlCol="0" anchor="ctr"/>
          <a:lstStyle>
            <a:lvl1pPr algn="l">
              <a:defRPr sz="2400" b="1">
                <a:solidFill>
                  <a:schemeClr val="tx2"/>
                </a:solidFill>
              </a:defRPr>
            </a:lvl1pPr>
          </a:lstStyle>
          <a:p>
            <a:fld id="{4042BF47-51D5-4747-88A1-E7AE8A878E9E}" type="slidenum">
              <a:rPr lang="es-ES" smtClean="0"/>
              <a:pPr/>
              <a:t>‹Nº›</a:t>
            </a:fld>
            <a:endParaRPr lang="es-ES"/>
          </a:p>
        </p:txBody>
      </p:sp>
      <p:sp>
        <p:nvSpPr>
          <p:cNvPr id="7" name="Rectangle 6"/>
          <p:cNvSpPr/>
          <p:nvPr/>
        </p:nvSpPr>
        <p:spPr>
          <a:xfrm>
            <a:off x="9001124" y="0"/>
            <a:ext cx="142876" cy="137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001124" y="1371600"/>
            <a:ext cx="142876" cy="548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9" r:id="rId12"/>
  </p:sldLayoutIdLst>
  <p:txStyles>
    <p:titleStyle>
      <a:lvl1pPr algn="l" defTabSz="914400" rtl="0" eaLnBrk="1" latinLnBrk="0" hangingPunct="1">
        <a:spcBef>
          <a:spcPct val="0"/>
        </a:spcBef>
        <a:buNone/>
        <a:defRPr sz="3600" kern="1200" cap="all" spc="-60" baseline="0">
          <a:solidFill>
            <a:schemeClr val="tx2"/>
          </a:solidFill>
          <a:latin typeface="+mj-lt"/>
          <a:ea typeface="+mj-ea"/>
          <a:cs typeface="+mj-cs"/>
        </a:defRPr>
      </a:lvl1pPr>
    </p:titleStyle>
    <p:body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smtClean="0"/>
              <a:t>Haga clic para cambiar el estilo de título	</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cs typeface="+mn-cs"/>
              </a:defRPr>
            </a:lvl1pPr>
          </a:lstStyle>
          <a:p>
            <a:pPr fontAlgn="base">
              <a:spcBef>
                <a:spcPct val="0"/>
              </a:spcBef>
              <a:spcAft>
                <a:spcPct val="0"/>
              </a:spcAft>
              <a:defRPr/>
            </a:pPr>
            <a:endParaRPr lang="es-PE">
              <a:solidFill>
                <a:srgbClr val="000000"/>
              </a:solidFill>
            </a:endParaRP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cs typeface="+mn-cs"/>
              </a:defRPr>
            </a:lvl1pPr>
          </a:lstStyle>
          <a:p>
            <a:pPr fontAlgn="base">
              <a:spcBef>
                <a:spcPct val="0"/>
              </a:spcBef>
              <a:spcAft>
                <a:spcPct val="0"/>
              </a:spcAft>
              <a:defRPr/>
            </a:pPr>
            <a:endParaRPr lang="es-PE">
              <a:solidFill>
                <a:srgbClr val="000000"/>
              </a:solidFill>
            </a:endParaRP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charset="0"/>
                <a:cs typeface="+mn-cs"/>
              </a:defRPr>
            </a:lvl1pPr>
          </a:lstStyle>
          <a:p>
            <a:pPr fontAlgn="base">
              <a:spcBef>
                <a:spcPct val="0"/>
              </a:spcBef>
              <a:spcAft>
                <a:spcPct val="0"/>
              </a:spcAft>
              <a:defRPr/>
            </a:pPr>
            <a:fld id="{9930A305-F941-47CE-A5D1-52DE570774E3}" type="slidenum">
              <a:rPr lang="es-ES" smtClean="0">
                <a:solidFill>
                  <a:srgbClr val="000000"/>
                </a:solidFill>
              </a:rPr>
              <a:pPr fontAlgn="base">
                <a:spcBef>
                  <a:spcPct val="0"/>
                </a:spcBef>
                <a:spcAft>
                  <a:spcPct val="0"/>
                </a:spcAft>
                <a:defRPr/>
              </a:pPr>
              <a:t>‹Nº›</a:t>
            </a:fld>
            <a:endParaRPr lang="es-ES">
              <a:solidFill>
                <a:srgbClr val="000000"/>
              </a:solidFill>
            </a:endParaRPr>
          </a:p>
        </p:txBody>
      </p:sp>
    </p:spTree>
    <p:extLst>
      <p:ext uri="{BB962C8B-B14F-4D97-AF65-F5344CB8AC3E}">
        <p14:creationId xmlns:p14="http://schemas.microsoft.com/office/powerpoint/2010/main" val="271812791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6" r:id="rId13"/>
    <p:sldLayoutId id="2147483688" r:id="rId14"/>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eg"/></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hyperlink" Target="http://1.bp.blogspot.com/_JzSqd6YaCaY/SmFoNyha9UI/AAAAAAAAFKA/KVvy3Ls2bLU/s1600-h/Rendy.jpg" TargetMode="External"/><Relationship Id="rId1" Type="http://schemas.openxmlformats.org/officeDocument/2006/relationships/slideLayout" Target="../slideLayouts/slideLayout26.xml"/><Relationship Id="rId5" Type="http://schemas.openxmlformats.org/officeDocument/2006/relationships/image" Target="../media/image23.jpeg"/><Relationship Id="rId4" Type="http://schemas.openxmlformats.org/officeDocument/2006/relationships/hyperlink" Target="http://1.bp.blogspot.com/_JzSqd6YaCaY/S49Thnxt27I/AAAAAAAAHho/-cwyGXASIPs/s1600-h/Rendy.jpg"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2.xml"/><Relationship Id="rId5" Type="http://schemas.openxmlformats.org/officeDocument/2006/relationships/image" Target="../media/image28.png"/><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3.png"/><Relationship Id="rId3" Type="http://schemas.openxmlformats.org/officeDocument/2006/relationships/tags" Target="../tags/tag3.xml"/><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png"/><Relationship Id="rId2" Type="http://schemas.openxmlformats.org/officeDocument/2006/relationships/tags" Target="../tags/tag2.xml"/><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tags" Target="../tags/tag1.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5" Type="http://schemas.openxmlformats.org/officeDocument/2006/relationships/slideLayout" Target="../slideLayouts/slideLayout12.xml"/><Relationship Id="rId15" Type="http://schemas.openxmlformats.org/officeDocument/2006/relationships/image" Target="../media/image42.png"/><Relationship Id="rId23" Type="http://schemas.openxmlformats.org/officeDocument/2006/relationships/image" Target="../media/image50.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tags" Target="../tags/tag4.xml"/><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2.xml"/><Relationship Id="rId5" Type="http://schemas.openxmlformats.org/officeDocument/2006/relationships/image" Target="../media/image58.png"/><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7.xml"/><Relationship Id="rId7" Type="http://schemas.openxmlformats.org/officeDocument/2006/relationships/image" Target="../media/image68.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7.png"/><Relationship Id="rId5" Type="http://schemas.openxmlformats.org/officeDocument/2006/relationships/slideLayout" Target="../slideLayouts/slideLayout12.xml"/><Relationship Id="rId4" Type="http://schemas.openxmlformats.org/officeDocument/2006/relationships/tags" Target="../tags/tag8.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encrypted-tbn0.gstatic.com/images?q=tbn:ANd9GcQ3ZKLiHuLbL2qRdsWqvhnwgiDSHa2_RIFSu1_Q-5x8otc7zd01"/>
          <p:cNvPicPr>
            <a:picLocks noGrp="1" noChangeAspect="1" noChangeArrowheads="1"/>
          </p:cNvPicPr>
          <p:nvPr>
            <p:ph type="pic" idx="1"/>
          </p:nvPr>
        </p:nvPicPr>
        <p:blipFill>
          <a:blip r:embed="rId2" cstate="print">
            <a:extLst>
              <a:ext uri="{28A0092B-C50C-407E-A947-70E740481C1C}">
                <a14:useLocalDpi xmlns:a14="http://schemas.microsoft.com/office/drawing/2010/main" val="0"/>
              </a:ext>
            </a:extLst>
          </a:blip>
          <a:srcRect l="12319" r="12319"/>
          <a:stretch>
            <a:fillRect/>
          </a:stretch>
        </p:blipFill>
        <p:spPr bwMode="auto">
          <a:xfrm>
            <a:off x="539552" y="178296"/>
            <a:ext cx="5486400" cy="4114800"/>
          </a:xfrm>
          <a:prstGeom prst="rect">
            <a:avLst/>
          </a:prstGeom>
          <a:noFill/>
          <a:extLst>
            <a:ext uri="{909E8E84-426E-40DD-AFC4-6F175D3DCCD1}">
              <a14:hiddenFill xmlns:a14="http://schemas.microsoft.com/office/drawing/2010/main">
                <a:solidFill>
                  <a:srgbClr val="FFFFFF"/>
                </a:solidFill>
              </a14:hiddenFill>
            </a:ext>
          </a:extLst>
        </p:spPr>
      </p:pic>
      <p:sp>
        <p:nvSpPr>
          <p:cNvPr id="6" name="5 Marcador de texto"/>
          <p:cNvSpPr>
            <a:spLocks noGrp="1"/>
          </p:cNvSpPr>
          <p:nvPr>
            <p:ph type="body" sz="half" idx="2"/>
          </p:nvPr>
        </p:nvSpPr>
        <p:spPr>
          <a:xfrm>
            <a:off x="5076056" y="5589240"/>
            <a:ext cx="3744416" cy="936104"/>
          </a:xfrm>
        </p:spPr>
        <p:txBody>
          <a:bodyPr>
            <a:normAutofit fontScale="25000" lnSpcReduction="20000"/>
          </a:bodyPr>
          <a:lstStyle/>
          <a:p>
            <a:pPr algn="r"/>
            <a:r>
              <a:rPr lang="es-ES" sz="6400" b="1" dirty="0" smtClean="0"/>
              <a:t>Juan Carlos Mathews S.</a:t>
            </a:r>
          </a:p>
          <a:p>
            <a:pPr algn="r"/>
            <a:r>
              <a:rPr lang="es-ES" sz="4400" b="1" dirty="0" smtClean="0"/>
              <a:t>Universidad del Pacífico. Centro de Educación Ejecutiva.</a:t>
            </a:r>
          </a:p>
          <a:p>
            <a:pPr algn="r"/>
            <a:r>
              <a:rPr lang="es-ES" sz="4400" smtClean="0"/>
              <a:t>COMEX.Nov.2013</a:t>
            </a:r>
            <a:endParaRPr lang="es-ES" b="1" dirty="0" smtClean="0"/>
          </a:p>
          <a:p>
            <a:pPr algn="r"/>
            <a:endParaRPr lang="es-ES" b="1" dirty="0"/>
          </a:p>
        </p:txBody>
      </p:sp>
      <p:sp>
        <p:nvSpPr>
          <p:cNvPr id="4" name="3 Título"/>
          <p:cNvSpPr>
            <a:spLocks noGrp="1"/>
          </p:cNvSpPr>
          <p:nvPr>
            <p:ph type="title"/>
          </p:nvPr>
        </p:nvSpPr>
        <p:spPr>
          <a:xfrm>
            <a:off x="395536" y="4293096"/>
            <a:ext cx="8352928" cy="1220688"/>
          </a:xfrm>
        </p:spPr>
        <p:txBody>
          <a:bodyPr>
            <a:noAutofit/>
          </a:bodyPr>
          <a:lstStyle/>
          <a:p>
            <a:pPr algn="ctr"/>
            <a:r>
              <a:rPr lang="es-ES" sz="3200" b="1" dirty="0" smtClean="0">
                <a:latin typeface="+mn-lt"/>
              </a:rPr>
              <a:t>OPORTUNIDADES DE LOS </a:t>
            </a:r>
            <a:r>
              <a:rPr lang="es-ES" sz="3200" b="1" dirty="0" err="1" smtClean="0">
                <a:latin typeface="+mn-lt"/>
              </a:rPr>
              <a:t>TLC´s</a:t>
            </a:r>
            <a:r>
              <a:rPr lang="es-ES" sz="3200" b="1" dirty="0" smtClean="0">
                <a:latin typeface="+mn-lt"/>
              </a:rPr>
              <a:t> </a:t>
            </a:r>
            <a:br>
              <a:rPr lang="es-ES" sz="3200" b="1" dirty="0" smtClean="0">
                <a:latin typeface="+mn-lt"/>
              </a:rPr>
            </a:br>
            <a:r>
              <a:rPr lang="es-ES" sz="3200" b="1" dirty="0" smtClean="0">
                <a:latin typeface="+mn-lt"/>
              </a:rPr>
              <a:t>Y PROMOCION DE EXPORTACIONES</a:t>
            </a:r>
            <a:endParaRPr lang="es-ES" sz="3200" b="1" dirty="0">
              <a:latin typeface="+mn-lt"/>
            </a:endParaRPr>
          </a:p>
        </p:txBody>
      </p:sp>
      <p:pic>
        <p:nvPicPr>
          <p:cNvPr id="1028" name="Picture 4" descr="https://encrypted-tbn1.gstatic.com/images?q=tbn:ANd9GcT8SA1aDQYxE56rFNNi3eixDoGUEPxUMn4y2oR_gaKOUbfsjZwGT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16216" y="908720"/>
            <a:ext cx="2239516" cy="254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7813158"/>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4 Elipse"/>
          <p:cNvSpPr/>
          <p:nvPr/>
        </p:nvSpPr>
        <p:spPr>
          <a:xfrm>
            <a:off x="611560" y="1916832"/>
            <a:ext cx="2349873" cy="3012142"/>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7" name="6 Conector recto"/>
          <p:cNvCxnSpPr/>
          <p:nvPr/>
        </p:nvCxnSpPr>
        <p:spPr>
          <a:xfrm flipV="1">
            <a:off x="634291" y="3905145"/>
            <a:ext cx="2198594" cy="11703"/>
          </a:xfrm>
          <a:prstGeom prst="line">
            <a:avLst/>
          </a:prstGeom>
        </p:spPr>
        <p:style>
          <a:lnRef idx="1">
            <a:schemeClr val="accent1"/>
          </a:lnRef>
          <a:fillRef idx="0">
            <a:schemeClr val="accent1"/>
          </a:fillRef>
          <a:effectRef idx="0">
            <a:schemeClr val="accent1"/>
          </a:effectRef>
          <a:fontRef idx="minor">
            <a:schemeClr val="tx1"/>
          </a:fontRef>
        </p:style>
      </p:cxnSp>
      <p:sp>
        <p:nvSpPr>
          <p:cNvPr id="10" name="9 CuadroTexto"/>
          <p:cNvSpPr txBox="1"/>
          <p:nvPr/>
        </p:nvSpPr>
        <p:spPr>
          <a:xfrm>
            <a:off x="998531" y="2815932"/>
            <a:ext cx="1554201" cy="400110"/>
          </a:xfrm>
          <a:prstGeom prst="rect">
            <a:avLst/>
          </a:prstGeom>
          <a:noFill/>
        </p:spPr>
        <p:txBody>
          <a:bodyPr wrap="square" rtlCol="0">
            <a:spAutoFit/>
          </a:bodyPr>
          <a:lstStyle/>
          <a:p>
            <a:pPr algn="ctr"/>
            <a:r>
              <a:rPr lang="es-ES" sz="2000" b="1" dirty="0" smtClean="0"/>
              <a:t>US$ 36,140</a:t>
            </a:r>
            <a:endParaRPr lang="es-ES" sz="2000" b="1" dirty="0"/>
          </a:p>
        </p:txBody>
      </p:sp>
      <p:sp>
        <p:nvSpPr>
          <p:cNvPr id="11" name="10 CuadroTexto"/>
          <p:cNvSpPr txBox="1"/>
          <p:nvPr/>
        </p:nvSpPr>
        <p:spPr>
          <a:xfrm>
            <a:off x="908482" y="4343852"/>
            <a:ext cx="1594076" cy="400110"/>
          </a:xfrm>
          <a:prstGeom prst="rect">
            <a:avLst/>
          </a:prstGeom>
          <a:noFill/>
        </p:spPr>
        <p:txBody>
          <a:bodyPr wrap="square" rtlCol="0">
            <a:spAutoFit/>
          </a:bodyPr>
          <a:lstStyle/>
          <a:p>
            <a:pPr algn="ctr"/>
            <a:r>
              <a:rPr lang="es-ES" sz="2000" b="1" dirty="0" smtClean="0"/>
              <a:t>US$ 10,192</a:t>
            </a:r>
            <a:endParaRPr lang="es-ES" sz="2000" b="1" dirty="0"/>
          </a:p>
        </p:txBody>
      </p:sp>
      <p:sp>
        <p:nvSpPr>
          <p:cNvPr id="12" name="11 CuadroTexto"/>
          <p:cNvSpPr txBox="1"/>
          <p:nvPr/>
        </p:nvSpPr>
        <p:spPr>
          <a:xfrm>
            <a:off x="899592" y="2321311"/>
            <a:ext cx="1537857" cy="400110"/>
          </a:xfrm>
          <a:prstGeom prst="rect">
            <a:avLst/>
          </a:prstGeom>
          <a:noFill/>
        </p:spPr>
        <p:txBody>
          <a:bodyPr wrap="none" rtlCol="0">
            <a:spAutoFit/>
          </a:bodyPr>
          <a:lstStyle/>
          <a:p>
            <a:r>
              <a:rPr lang="es-ES" sz="2000" b="1" dirty="0" smtClean="0">
                <a:solidFill>
                  <a:schemeClr val="tx2">
                    <a:lumMod val="75000"/>
                  </a:schemeClr>
                </a:solidFill>
              </a:rPr>
              <a:t>Tradicional</a:t>
            </a:r>
            <a:endParaRPr lang="es-ES" sz="2000" b="1" dirty="0">
              <a:solidFill>
                <a:schemeClr val="tx2">
                  <a:lumMod val="75000"/>
                </a:schemeClr>
              </a:solidFill>
            </a:endParaRPr>
          </a:p>
        </p:txBody>
      </p:sp>
      <p:sp>
        <p:nvSpPr>
          <p:cNvPr id="13" name="12 CuadroTexto"/>
          <p:cNvSpPr txBox="1"/>
          <p:nvPr/>
        </p:nvSpPr>
        <p:spPr>
          <a:xfrm>
            <a:off x="827584" y="3943741"/>
            <a:ext cx="1951432" cy="400110"/>
          </a:xfrm>
          <a:prstGeom prst="rect">
            <a:avLst/>
          </a:prstGeom>
          <a:noFill/>
        </p:spPr>
        <p:txBody>
          <a:bodyPr wrap="none" rtlCol="0">
            <a:spAutoFit/>
          </a:bodyPr>
          <a:lstStyle/>
          <a:p>
            <a:r>
              <a:rPr lang="es-ES" sz="2000" b="1" dirty="0" smtClean="0">
                <a:solidFill>
                  <a:schemeClr val="tx2">
                    <a:lumMod val="75000"/>
                  </a:schemeClr>
                </a:solidFill>
              </a:rPr>
              <a:t>No Tradicional</a:t>
            </a:r>
            <a:endParaRPr lang="es-ES" sz="2000" b="1" dirty="0">
              <a:solidFill>
                <a:schemeClr val="tx2">
                  <a:lumMod val="75000"/>
                </a:schemeClr>
              </a:solidFill>
            </a:endParaRPr>
          </a:p>
        </p:txBody>
      </p:sp>
      <p:cxnSp>
        <p:nvCxnSpPr>
          <p:cNvPr id="24" name="23 Conector recto"/>
          <p:cNvCxnSpPr/>
          <p:nvPr/>
        </p:nvCxnSpPr>
        <p:spPr>
          <a:xfrm>
            <a:off x="3165795" y="1256073"/>
            <a:ext cx="0" cy="3926541"/>
          </a:xfrm>
          <a:prstGeom prst="line">
            <a:avLst/>
          </a:prstGeom>
        </p:spPr>
        <p:style>
          <a:lnRef idx="1">
            <a:schemeClr val="accent1"/>
          </a:lnRef>
          <a:fillRef idx="0">
            <a:schemeClr val="accent1"/>
          </a:fillRef>
          <a:effectRef idx="0">
            <a:schemeClr val="accent1"/>
          </a:effectRef>
          <a:fontRef idx="minor">
            <a:schemeClr val="tx1"/>
          </a:fontRef>
        </p:style>
      </p:cxnSp>
      <p:sp>
        <p:nvSpPr>
          <p:cNvPr id="25" name="24 CuadroTexto"/>
          <p:cNvSpPr txBox="1"/>
          <p:nvPr/>
        </p:nvSpPr>
        <p:spPr>
          <a:xfrm>
            <a:off x="450461" y="1016259"/>
            <a:ext cx="2650341" cy="707886"/>
          </a:xfrm>
          <a:prstGeom prst="rect">
            <a:avLst/>
          </a:prstGeom>
          <a:noFill/>
        </p:spPr>
        <p:txBody>
          <a:bodyPr wrap="none" rtlCol="0">
            <a:spAutoFit/>
          </a:bodyPr>
          <a:lstStyle/>
          <a:p>
            <a:pPr algn="ctr"/>
            <a:r>
              <a:rPr lang="es-ES" sz="2000" b="1" dirty="0" smtClean="0"/>
              <a:t>Exportaciones 2011 </a:t>
            </a:r>
          </a:p>
          <a:p>
            <a:pPr algn="ctr"/>
            <a:r>
              <a:rPr lang="es-ES" sz="2000" b="1" dirty="0" smtClean="0"/>
              <a:t>US$ 46,332</a:t>
            </a:r>
            <a:endParaRPr lang="es-ES" sz="2000" b="1" dirty="0"/>
          </a:p>
        </p:txBody>
      </p:sp>
      <p:sp>
        <p:nvSpPr>
          <p:cNvPr id="28" name="27 CuadroTexto"/>
          <p:cNvSpPr txBox="1"/>
          <p:nvPr/>
        </p:nvSpPr>
        <p:spPr>
          <a:xfrm>
            <a:off x="1456949" y="3319880"/>
            <a:ext cx="697627" cy="400110"/>
          </a:xfrm>
          <a:prstGeom prst="rect">
            <a:avLst/>
          </a:prstGeom>
          <a:noFill/>
        </p:spPr>
        <p:txBody>
          <a:bodyPr wrap="none" rtlCol="0">
            <a:spAutoFit/>
          </a:bodyPr>
          <a:lstStyle/>
          <a:p>
            <a:r>
              <a:rPr lang="es-ES" sz="2000" dirty="0" smtClean="0">
                <a:solidFill>
                  <a:schemeClr val="accent5"/>
                </a:solidFill>
              </a:rPr>
              <a:t>78%</a:t>
            </a:r>
            <a:endParaRPr lang="es-ES" sz="2000" dirty="0">
              <a:solidFill>
                <a:schemeClr val="accent5"/>
              </a:solidFill>
            </a:endParaRPr>
          </a:p>
        </p:txBody>
      </p:sp>
      <p:sp>
        <p:nvSpPr>
          <p:cNvPr id="29" name="28 CuadroTexto"/>
          <p:cNvSpPr txBox="1"/>
          <p:nvPr/>
        </p:nvSpPr>
        <p:spPr>
          <a:xfrm>
            <a:off x="3313016" y="1010049"/>
            <a:ext cx="2664512" cy="707886"/>
          </a:xfrm>
          <a:prstGeom prst="rect">
            <a:avLst/>
          </a:prstGeom>
          <a:noFill/>
        </p:spPr>
        <p:txBody>
          <a:bodyPr wrap="none" rtlCol="0">
            <a:spAutoFit/>
          </a:bodyPr>
          <a:lstStyle/>
          <a:p>
            <a:pPr algn="ctr"/>
            <a:r>
              <a:rPr lang="es-ES" sz="2000" b="1" dirty="0" smtClean="0"/>
              <a:t>Exportaciones 2012 </a:t>
            </a:r>
          </a:p>
          <a:p>
            <a:pPr algn="ctr"/>
            <a:r>
              <a:rPr lang="es-ES" sz="2000" b="1" dirty="0" smtClean="0"/>
              <a:t>US$ 46,362</a:t>
            </a:r>
            <a:endParaRPr lang="es-ES" sz="2000" b="1" dirty="0"/>
          </a:p>
        </p:txBody>
      </p:sp>
      <p:sp>
        <p:nvSpPr>
          <p:cNvPr id="30" name="29 Elipse"/>
          <p:cNvSpPr/>
          <p:nvPr/>
        </p:nvSpPr>
        <p:spPr>
          <a:xfrm>
            <a:off x="3491880" y="1916832"/>
            <a:ext cx="2349873" cy="3012142"/>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31 CuadroTexto"/>
          <p:cNvSpPr txBox="1"/>
          <p:nvPr/>
        </p:nvSpPr>
        <p:spPr>
          <a:xfrm>
            <a:off x="3923928" y="2273656"/>
            <a:ext cx="1537857" cy="400110"/>
          </a:xfrm>
          <a:prstGeom prst="rect">
            <a:avLst/>
          </a:prstGeom>
          <a:noFill/>
        </p:spPr>
        <p:txBody>
          <a:bodyPr wrap="none" rtlCol="0">
            <a:spAutoFit/>
          </a:bodyPr>
          <a:lstStyle/>
          <a:p>
            <a:r>
              <a:rPr lang="es-ES" sz="2000" b="1" dirty="0" smtClean="0">
                <a:solidFill>
                  <a:schemeClr val="tx2">
                    <a:lumMod val="75000"/>
                  </a:schemeClr>
                </a:solidFill>
              </a:rPr>
              <a:t>Tradicional</a:t>
            </a:r>
            <a:endParaRPr lang="es-ES" sz="2000" b="1" dirty="0">
              <a:solidFill>
                <a:schemeClr val="tx2">
                  <a:lumMod val="75000"/>
                </a:schemeClr>
              </a:solidFill>
            </a:endParaRPr>
          </a:p>
        </p:txBody>
      </p:sp>
      <p:cxnSp>
        <p:nvCxnSpPr>
          <p:cNvPr id="37" name="36 Conector recto"/>
          <p:cNvCxnSpPr/>
          <p:nvPr/>
        </p:nvCxnSpPr>
        <p:spPr>
          <a:xfrm flipV="1">
            <a:off x="3502669" y="3663097"/>
            <a:ext cx="2285207" cy="11071"/>
          </a:xfrm>
          <a:prstGeom prst="line">
            <a:avLst/>
          </a:prstGeom>
        </p:spPr>
        <p:style>
          <a:lnRef idx="1">
            <a:schemeClr val="accent1"/>
          </a:lnRef>
          <a:fillRef idx="0">
            <a:schemeClr val="accent1"/>
          </a:fillRef>
          <a:effectRef idx="0">
            <a:schemeClr val="accent1"/>
          </a:effectRef>
          <a:fontRef idx="minor">
            <a:schemeClr val="tx1"/>
          </a:fontRef>
        </p:style>
      </p:cxnSp>
      <p:sp>
        <p:nvSpPr>
          <p:cNvPr id="47" name="46 CuadroTexto"/>
          <p:cNvSpPr txBox="1"/>
          <p:nvPr/>
        </p:nvSpPr>
        <p:spPr>
          <a:xfrm>
            <a:off x="3868172" y="2680845"/>
            <a:ext cx="1554201" cy="400110"/>
          </a:xfrm>
          <a:prstGeom prst="rect">
            <a:avLst/>
          </a:prstGeom>
          <a:noFill/>
        </p:spPr>
        <p:txBody>
          <a:bodyPr wrap="square" rtlCol="0">
            <a:spAutoFit/>
          </a:bodyPr>
          <a:lstStyle/>
          <a:p>
            <a:pPr algn="ctr"/>
            <a:r>
              <a:rPr lang="es-ES" sz="2000" b="1" dirty="0" smtClean="0"/>
              <a:t>US$ 35,155</a:t>
            </a:r>
            <a:endParaRPr lang="es-ES" sz="2000" b="1" dirty="0"/>
          </a:p>
        </p:txBody>
      </p:sp>
      <p:sp>
        <p:nvSpPr>
          <p:cNvPr id="48" name="47 CuadroTexto"/>
          <p:cNvSpPr txBox="1"/>
          <p:nvPr/>
        </p:nvSpPr>
        <p:spPr>
          <a:xfrm>
            <a:off x="4368634" y="3178130"/>
            <a:ext cx="697627" cy="400110"/>
          </a:xfrm>
          <a:prstGeom prst="rect">
            <a:avLst/>
          </a:prstGeom>
          <a:noFill/>
        </p:spPr>
        <p:txBody>
          <a:bodyPr wrap="none" rtlCol="0">
            <a:spAutoFit/>
          </a:bodyPr>
          <a:lstStyle/>
          <a:p>
            <a:r>
              <a:rPr lang="es-ES" sz="2000" dirty="0" smtClean="0">
                <a:solidFill>
                  <a:schemeClr val="accent5"/>
                </a:solidFill>
              </a:rPr>
              <a:t>76%</a:t>
            </a:r>
            <a:endParaRPr lang="es-ES" sz="2000" dirty="0">
              <a:solidFill>
                <a:schemeClr val="accent5"/>
              </a:solidFill>
            </a:endParaRPr>
          </a:p>
        </p:txBody>
      </p:sp>
      <p:sp>
        <p:nvSpPr>
          <p:cNvPr id="49" name="48 CuadroTexto"/>
          <p:cNvSpPr txBox="1"/>
          <p:nvPr/>
        </p:nvSpPr>
        <p:spPr>
          <a:xfrm>
            <a:off x="3707904" y="3787313"/>
            <a:ext cx="1951432" cy="400110"/>
          </a:xfrm>
          <a:prstGeom prst="rect">
            <a:avLst/>
          </a:prstGeom>
          <a:noFill/>
        </p:spPr>
        <p:txBody>
          <a:bodyPr wrap="none" rtlCol="0">
            <a:spAutoFit/>
          </a:bodyPr>
          <a:lstStyle/>
          <a:p>
            <a:r>
              <a:rPr lang="es-ES" sz="2000" b="1" dirty="0" smtClean="0">
                <a:solidFill>
                  <a:schemeClr val="tx2">
                    <a:lumMod val="75000"/>
                  </a:schemeClr>
                </a:solidFill>
              </a:rPr>
              <a:t>No Tradicional</a:t>
            </a:r>
            <a:endParaRPr lang="es-ES" sz="2000" b="1" dirty="0">
              <a:solidFill>
                <a:schemeClr val="tx2">
                  <a:lumMod val="75000"/>
                </a:schemeClr>
              </a:solidFill>
            </a:endParaRPr>
          </a:p>
        </p:txBody>
      </p:sp>
      <p:sp>
        <p:nvSpPr>
          <p:cNvPr id="50" name="49 CuadroTexto"/>
          <p:cNvSpPr txBox="1"/>
          <p:nvPr/>
        </p:nvSpPr>
        <p:spPr>
          <a:xfrm>
            <a:off x="3828298" y="4187424"/>
            <a:ext cx="1594076" cy="400110"/>
          </a:xfrm>
          <a:prstGeom prst="rect">
            <a:avLst/>
          </a:prstGeom>
          <a:noFill/>
        </p:spPr>
        <p:txBody>
          <a:bodyPr wrap="square" rtlCol="0">
            <a:spAutoFit/>
          </a:bodyPr>
          <a:lstStyle/>
          <a:p>
            <a:pPr algn="ctr"/>
            <a:r>
              <a:rPr lang="es-ES" sz="2000" b="1" dirty="0" smtClean="0"/>
              <a:t>US$ 11,207</a:t>
            </a:r>
            <a:endParaRPr lang="es-ES" sz="2000" b="1" dirty="0"/>
          </a:p>
        </p:txBody>
      </p:sp>
      <p:cxnSp>
        <p:nvCxnSpPr>
          <p:cNvPr id="53" name="52 Conector recto"/>
          <p:cNvCxnSpPr/>
          <p:nvPr/>
        </p:nvCxnSpPr>
        <p:spPr>
          <a:xfrm>
            <a:off x="6265342" y="1114272"/>
            <a:ext cx="0" cy="4068343"/>
          </a:xfrm>
          <a:prstGeom prst="line">
            <a:avLst/>
          </a:prstGeom>
        </p:spPr>
        <p:style>
          <a:lnRef idx="1">
            <a:schemeClr val="accent1"/>
          </a:lnRef>
          <a:fillRef idx="0">
            <a:schemeClr val="accent1"/>
          </a:fillRef>
          <a:effectRef idx="0">
            <a:schemeClr val="accent1"/>
          </a:effectRef>
          <a:fontRef idx="minor">
            <a:schemeClr val="tx1"/>
          </a:fontRef>
        </p:style>
      </p:cxnSp>
      <p:sp>
        <p:nvSpPr>
          <p:cNvPr id="56" name="55 CuadroTexto"/>
          <p:cNvSpPr txBox="1"/>
          <p:nvPr/>
        </p:nvSpPr>
        <p:spPr>
          <a:xfrm>
            <a:off x="201484" y="6237111"/>
            <a:ext cx="2454518" cy="523220"/>
          </a:xfrm>
          <a:prstGeom prst="rect">
            <a:avLst/>
          </a:prstGeom>
          <a:noFill/>
        </p:spPr>
        <p:txBody>
          <a:bodyPr wrap="none" rtlCol="0">
            <a:spAutoFit/>
          </a:bodyPr>
          <a:lstStyle/>
          <a:p>
            <a:r>
              <a:rPr lang="es-ES" sz="1400" b="1" dirty="0" smtClean="0">
                <a:solidFill>
                  <a:schemeClr val="tx2">
                    <a:lumMod val="75000"/>
                  </a:schemeClr>
                </a:solidFill>
              </a:rPr>
              <a:t>*Cifras en millones de US$</a:t>
            </a:r>
          </a:p>
          <a:p>
            <a:r>
              <a:rPr lang="es-ES" sz="1400" b="1" dirty="0" smtClean="0">
                <a:solidFill>
                  <a:schemeClr val="tx2">
                    <a:lumMod val="75000"/>
                  </a:schemeClr>
                </a:solidFill>
              </a:rPr>
              <a:t>**Enero-Agosto</a:t>
            </a:r>
            <a:endParaRPr lang="es-ES" sz="1400" b="1" dirty="0">
              <a:solidFill>
                <a:schemeClr val="tx2">
                  <a:lumMod val="75000"/>
                </a:schemeClr>
              </a:solidFill>
            </a:endParaRPr>
          </a:p>
        </p:txBody>
      </p:sp>
      <p:sp>
        <p:nvSpPr>
          <p:cNvPr id="57" name="56 Elipse"/>
          <p:cNvSpPr/>
          <p:nvPr/>
        </p:nvSpPr>
        <p:spPr>
          <a:xfrm>
            <a:off x="6532508" y="1910586"/>
            <a:ext cx="2349873" cy="3012142"/>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57 CuadroTexto"/>
          <p:cNvSpPr txBox="1"/>
          <p:nvPr/>
        </p:nvSpPr>
        <p:spPr>
          <a:xfrm>
            <a:off x="6275802" y="990883"/>
            <a:ext cx="2863284" cy="707886"/>
          </a:xfrm>
          <a:prstGeom prst="rect">
            <a:avLst/>
          </a:prstGeom>
          <a:noFill/>
        </p:spPr>
        <p:txBody>
          <a:bodyPr wrap="none" rtlCol="0">
            <a:spAutoFit/>
          </a:bodyPr>
          <a:lstStyle/>
          <a:p>
            <a:pPr algn="ctr"/>
            <a:r>
              <a:rPr lang="es-ES" sz="2000" b="1" dirty="0" smtClean="0"/>
              <a:t>Exportaciones 2013** </a:t>
            </a:r>
          </a:p>
          <a:p>
            <a:pPr algn="ctr"/>
            <a:r>
              <a:rPr lang="es-ES" sz="2000" b="1" dirty="0" smtClean="0"/>
              <a:t>US$ 27,111</a:t>
            </a:r>
            <a:endParaRPr lang="es-ES" sz="2000" b="1" dirty="0"/>
          </a:p>
        </p:txBody>
      </p:sp>
      <p:sp>
        <p:nvSpPr>
          <p:cNvPr id="59" name="58 CuadroTexto"/>
          <p:cNvSpPr txBox="1"/>
          <p:nvPr/>
        </p:nvSpPr>
        <p:spPr>
          <a:xfrm>
            <a:off x="6948264" y="2226001"/>
            <a:ext cx="1537857" cy="400110"/>
          </a:xfrm>
          <a:prstGeom prst="rect">
            <a:avLst/>
          </a:prstGeom>
          <a:noFill/>
        </p:spPr>
        <p:txBody>
          <a:bodyPr wrap="none" rtlCol="0">
            <a:spAutoFit/>
          </a:bodyPr>
          <a:lstStyle/>
          <a:p>
            <a:r>
              <a:rPr lang="es-ES" sz="2000" b="1" dirty="0" smtClean="0">
                <a:solidFill>
                  <a:schemeClr val="tx2">
                    <a:lumMod val="75000"/>
                  </a:schemeClr>
                </a:solidFill>
              </a:rPr>
              <a:t>Tradicional</a:t>
            </a:r>
            <a:endParaRPr lang="es-ES" sz="2000" b="1" dirty="0">
              <a:solidFill>
                <a:schemeClr val="tx2">
                  <a:lumMod val="75000"/>
                </a:schemeClr>
              </a:solidFill>
            </a:endParaRPr>
          </a:p>
        </p:txBody>
      </p:sp>
      <p:sp>
        <p:nvSpPr>
          <p:cNvPr id="60" name="59 CuadroTexto"/>
          <p:cNvSpPr txBox="1"/>
          <p:nvPr/>
        </p:nvSpPr>
        <p:spPr>
          <a:xfrm>
            <a:off x="6930345" y="2624007"/>
            <a:ext cx="1554201" cy="400110"/>
          </a:xfrm>
          <a:prstGeom prst="rect">
            <a:avLst/>
          </a:prstGeom>
          <a:noFill/>
        </p:spPr>
        <p:txBody>
          <a:bodyPr wrap="square" rtlCol="0">
            <a:spAutoFit/>
          </a:bodyPr>
          <a:lstStyle/>
          <a:p>
            <a:pPr algn="ctr"/>
            <a:r>
              <a:rPr lang="es-ES" sz="2000" b="1" dirty="0" smtClean="0"/>
              <a:t>US$ 20,198</a:t>
            </a:r>
            <a:endParaRPr lang="es-ES" sz="2000" b="1" dirty="0"/>
          </a:p>
        </p:txBody>
      </p:sp>
      <p:cxnSp>
        <p:nvCxnSpPr>
          <p:cNvPr id="64" name="63 Conector recto"/>
          <p:cNvCxnSpPr/>
          <p:nvPr/>
        </p:nvCxnSpPr>
        <p:spPr>
          <a:xfrm>
            <a:off x="6532508" y="3558407"/>
            <a:ext cx="2349873" cy="0"/>
          </a:xfrm>
          <a:prstGeom prst="line">
            <a:avLst/>
          </a:prstGeom>
        </p:spPr>
        <p:style>
          <a:lnRef idx="1">
            <a:schemeClr val="accent1"/>
          </a:lnRef>
          <a:fillRef idx="0">
            <a:schemeClr val="accent1"/>
          </a:fillRef>
          <a:effectRef idx="0">
            <a:schemeClr val="accent1"/>
          </a:effectRef>
          <a:fontRef idx="minor">
            <a:schemeClr val="tx1"/>
          </a:fontRef>
        </p:style>
      </p:cxnSp>
      <p:sp>
        <p:nvSpPr>
          <p:cNvPr id="66" name="65 CuadroTexto"/>
          <p:cNvSpPr txBox="1"/>
          <p:nvPr/>
        </p:nvSpPr>
        <p:spPr>
          <a:xfrm>
            <a:off x="7430806" y="3077542"/>
            <a:ext cx="697627" cy="400110"/>
          </a:xfrm>
          <a:prstGeom prst="rect">
            <a:avLst/>
          </a:prstGeom>
          <a:noFill/>
        </p:spPr>
        <p:txBody>
          <a:bodyPr wrap="none" rtlCol="0">
            <a:spAutoFit/>
          </a:bodyPr>
          <a:lstStyle/>
          <a:p>
            <a:r>
              <a:rPr lang="es-ES" sz="2000" dirty="0" smtClean="0">
                <a:solidFill>
                  <a:schemeClr val="accent5"/>
                </a:solidFill>
              </a:rPr>
              <a:t>75%</a:t>
            </a:r>
            <a:endParaRPr lang="es-ES" sz="2000" dirty="0">
              <a:solidFill>
                <a:schemeClr val="accent5"/>
              </a:solidFill>
            </a:endParaRPr>
          </a:p>
        </p:txBody>
      </p:sp>
      <p:sp>
        <p:nvSpPr>
          <p:cNvPr id="67" name="66 CuadroTexto"/>
          <p:cNvSpPr txBox="1"/>
          <p:nvPr/>
        </p:nvSpPr>
        <p:spPr>
          <a:xfrm>
            <a:off x="6804248" y="3655184"/>
            <a:ext cx="1951432" cy="400110"/>
          </a:xfrm>
          <a:prstGeom prst="rect">
            <a:avLst/>
          </a:prstGeom>
          <a:noFill/>
        </p:spPr>
        <p:txBody>
          <a:bodyPr wrap="none" rtlCol="0">
            <a:spAutoFit/>
          </a:bodyPr>
          <a:lstStyle/>
          <a:p>
            <a:r>
              <a:rPr lang="es-ES" sz="2000" b="1" dirty="0" smtClean="0">
                <a:solidFill>
                  <a:schemeClr val="tx2">
                    <a:lumMod val="75000"/>
                  </a:schemeClr>
                </a:solidFill>
              </a:rPr>
              <a:t>No Tradicional</a:t>
            </a:r>
            <a:endParaRPr lang="es-ES" sz="2000" b="1" dirty="0">
              <a:solidFill>
                <a:schemeClr val="tx2">
                  <a:lumMod val="75000"/>
                </a:schemeClr>
              </a:solidFill>
            </a:endParaRPr>
          </a:p>
        </p:txBody>
      </p:sp>
      <p:sp>
        <p:nvSpPr>
          <p:cNvPr id="68" name="67 CuadroTexto"/>
          <p:cNvSpPr txBox="1"/>
          <p:nvPr/>
        </p:nvSpPr>
        <p:spPr>
          <a:xfrm>
            <a:off x="6930345" y="4060249"/>
            <a:ext cx="1594076" cy="400110"/>
          </a:xfrm>
          <a:prstGeom prst="rect">
            <a:avLst/>
          </a:prstGeom>
          <a:noFill/>
        </p:spPr>
        <p:txBody>
          <a:bodyPr wrap="square" rtlCol="0">
            <a:spAutoFit/>
          </a:bodyPr>
          <a:lstStyle/>
          <a:p>
            <a:pPr algn="ctr"/>
            <a:r>
              <a:rPr lang="es-ES" sz="2000" b="1" dirty="0" smtClean="0"/>
              <a:t>US$ 6,912</a:t>
            </a:r>
            <a:endParaRPr lang="es-ES" sz="2000" b="1" dirty="0"/>
          </a:p>
        </p:txBody>
      </p:sp>
      <p:sp>
        <p:nvSpPr>
          <p:cNvPr id="74" name="73 CuadroTexto"/>
          <p:cNvSpPr txBox="1"/>
          <p:nvPr/>
        </p:nvSpPr>
        <p:spPr>
          <a:xfrm>
            <a:off x="4572000" y="5185082"/>
            <a:ext cx="916710" cy="461665"/>
          </a:xfrm>
          <a:prstGeom prst="rect">
            <a:avLst/>
          </a:prstGeom>
          <a:noFill/>
        </p:spPr>
        <p:txBody>
          <a:bodyPr wrap="square" rtlCol="0">
            <a:spAutoFit/>
          </a:bodyPr>
          <a:lstStyle/>
          <a:p>
            <a:r>
              <a:rPr lang="es-ES" sz="2400" b="1" dirty="0" smtClean="0"/>
              <a:t>6.4</a:t>
            </a:r>
            <a:r>
              <a:rPr lang="es-ES" sz="2400" b="1" dirty="0"/>
              <a:t>%</a:t>
            </a:r>
            <a:endParaRPr lang="es-ES" sz="2400" b="1" dirty="0" smtClean="0"/>
          </a:p>
        </p:txBody>
      </p:sp>
      <p:sp>
        <p:nvSpPr>
          <p:cNvPr id="75" name="74 Menos"/>
          <p:cNvSpPr/>
          <p:nvPr/>
        </p:nvSpPr>
        <p:spPr>
          <a:xfrm>
            <a:off x="6736977" y="5013176"/>
            <a:ext cx="686492" cy="936104"/>
          </a:xfrm>
          <a:prstGeom prst="mathMinus">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 name="75 CuadroTexto"/>
          <p:cNvSpPr txBox="1"/>
          <p:nvPr/>
        </p:nvSpPr>
        <p:spPr>
          <a:xfrm>
            <a:off x="7430807" y="5198219"/>
            <a:ext cx="1356654" cy="461665"/>
          </a:xfrm>
          <a:prstGeom prst="rect">
            <a:avLst/>
          </a:prstGeom>
          <a:noFill/>
        </p:spPr>
        <p:txBody>
          <a:bodyPr wrap="square" rtlCol="0">
            <a:spAutoFit/>
          </a:bodyPr>
          <a:lstStyle/>
          <a:p>
            <a:r>
              <a:rPr lang="es-ES" sz="2400" b="1" dirty="0" smtClean="0"/>
              <a:t>10.9%</a:t>
            </a:r>
          </a:p>
        </p:txBody>
      </p:sp>
      <p:sp>
        <p:nvSpPr>
          <p:cNvPr id="77" name="76 Más"/>
          <p:cNvSpPr/>
          <p:nvPr/>
        </p:nvSpPr>
        <p:spPr>
          <a:xfrm>
            <a:off x="899592" y="5229201"/>
            <a:ext cx="508172" cy="576064"/>
          </a:xfrm>
          <a:prstGeom prst="mathPlus">
            <a:avLst>
              <a:gd name="adj1" fmla="val 27439"/>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chemeClr val="tx2">
                  <a:lumMod val="75000"/>
                </a:schemeClr>
              </a:solidFill>
            </a:endParaRPr>
          </a:p>
        </p:txBody>
      </p:sp>
      <p:sp>
        <p:nvSpPr>
          <p:cNvPr id="78" name="77 CuadroTexto"/>
          <p:cNvSpPr txBox="1"/>
          <p:nvPr/>
        </p:nvSpPr>
        <p:spPr>
          <a:xfrm>
            <a:off x="1407764" y="5200702"/>
            <a:ext cx="1281734" cy="461665"/>
          </a:xfrm>
          <a:prstGeom prst="rect">
            <a:avLst/>
          </a:prstGeom>
          <a:noFill/>
        </p:spPr>
        <p:txBody>
          <a:bodyPr wrap="square" rtlCol="0">
            <a:spAutoFit/>
          </a:bodyPr>
          <a:lstStyle/>
          <a:p>
            <a:r>
              <a:rPr lang="es-ES" sz="2400" b="1" dirty="0" smtClean="0"/>
              <a:t>29.4%</a:t>
            </a:r>
          </a:p>
        </p:txBody>
      </p:sp>
      <p:sp>
        <p:nvSpPr>
          <p:cNvPr id="36" name="1 Título"/>
          <p:cNvSpPr>
            <a:spLocks noGrp="1"/>
          </p:cNvSpPr>
          <p:nvPr>
            <p:ph type="title"/>
          </p:nvPr>
        </p:nvSpPr>
        <p:spPr>
          <a:xfrm>
            <a:off x="457200" y="152718"/>
            <a:ext cx="7931224" cy="683994"/>
          </a:xfrm>
        </p:spPr>
        <p:txBody>
          <a:bodyPr>
            <a:normAutofit/>
          </a:bodyPr>
          <a:lstStyle/>
          <a:p>
            <a:r>
              <a:rPr lang="es-ES" sz="2800" dirty="0" smtClean="0"/>
              <a:t>ii.	</a:t>
            </a:r>
            <a:r>
              <a:rPr lang="es-ES" sz="2800" dirty="0" err="1" smtClean="0">
                <a:solidFill>
                  <a:schemeClr val="tx1"/>
                </a:solidFill>
              </a:rPr>
              <a:t>Peru</a:t>
            </a:r>
            <a:r>
              <a:rPr lang="es-ES" sz="2800" dirty="0" smtClean="0">
                <a:solidFill>
                  <a:schemeClr val="tx1"/>
                </a:solidFill>
              </a:rPr>
              <a:t>: </a:t>
            </a:r>
            <a:r>
              <a:rPr lang="es-ES" sz="2800" dirty="0" err="1" smtClean="0">
                <a:solidFill>
                  <a:schemeClr val="tx1"/>
                </a:solidFill>
              </a:rPr>
              <a:t>evolucion</a:t>
            </a:r>
            <a:r>
              <a:rPr lang="es-ES" sz="2800" dirty="0" smtClean="0">
                <a:solidFill>
                  <a:schemeClr val="tx1"/>
                </a:solidFill>
              </a:rPr>
              <a:t> exportadora</a:t>
            </a:r>
            <a:endParaRPr lang="es-ES" sz="2800" dirty="0">
              <a:solidFill>
                <a:schemeClr val="tx1"/>
              </a:solidFill>
            </a:endParaRPr>
          </a:p>
        </p:txBody>
      </p:sp>
      <p:sp>
        <p:nvSpPr>
          <p:cNvPr id="38" name="37 Más"/>
          <p:cNvSpPr/>
          <p:nvPr/>
        </p:nvSpPr>
        <p:spPr>
          <a:xfrm>
            <a:off x="4135836" y="5229200"/>
            <a:ext cx="508172" cy="576064"/>
          </a:xfrm>
          <a:prstGeom prst="mathPlus">
            <a:avLst>
              <a:gd name="adj1" fmla="val 27439"/>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chemeClr val="tx2">
                  <a:lumMod val="75000"/>
                </a:schemeClr>
              </a:solidFill>
            </a:endParaRPr>
          </a:p>
        </p:txBody>
      </p:sp>
    </p:spTree>
    <p:extLst>
      <p:ext uri="{BB962C8B-B14F-4D97-AF65-F5344CB8AC3E}">
        <p14:creationId xmlns:p14="http://schemas.microsoft.com/office/powerpoint/2010/main" val="1800370770"/>
      </p:ext>
    </p:extLst>
  </p:cSld>
  <p:clrMapOvr>
    <a:masterClrMapping/>
  </p:clrMapOvr>
  <p:transition spd="slow">
    <p:push di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CuadroTexto"/>
          <p:cNvSpPr txBox="1"/>
          <p:nvPr/>
        </p:nvSpPr>
        <p:spPr>
          <a:xfrm>
            <a:off x="467544" y="364594"/>
            <a:ext cx="8496660" cy="400110"/>
          </a:xfrm>
          <a:prstGeom prst="rect">
            <a:avLst/>
          </a:prstGeom>
          <a:no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00"/>
              </a:spcAft>
              <a:defRPr/>
            </a:pPr>
            <a:r>
              <a:rPr lang="es-PE" sz="2000" b="1" dirty="0" smtClean="0">
                <a:effectLst>
                  <a:outerShdw blurRad="38100" dist="38100" dir="2700000" algn="tl">
                    <a:srgbClr val="000000">
                      <a:alpha val="43137"/>
                    </a:srgbClr>
                  </a:outerShdw>
                </a:effectLst>
                <a:cs typeface="Arial" pitchFamily="34" charset="0"/>
              </a:rPr>
              <a:t>Principales mercados</a:t>
            </a:r>
            <a:endParaRPr lang="es-PE" sz="2000" b="1" dirty="0">
              <a:effectLst>
                <a:outerShdw blurRad="38100" dist="38100" dir="2700000" algn="tl">
                  <a:srgbClr val="000000">
                    <a:alpha val="43137"/>
                  </a:srgbClr>
                </a:outerShdw>
              </a:effectLst>
              <a:cs typeface="Arial" pitchFamily="34" charset="0"/>
            </a:endParaRPr>
          </a:p>
        </p:txBody>
      </p:sp>
      <p:sp>
        <p:nvSpPr>
          <p:cNvPr id="5" name="4 CuadroTexto"/>
          <p:cNvSpPr txBox="1"/>
          <p:nvPr/>
        </p:nvSpPr>
        <p:spPr>
          <a:xfrm>
            <a:off x="258456" y="796642"/>
            <a:ext cx="8201976" cy="400110"/>
          </a:xfrm>
          <a:prstGeom prst="rect">
            <a:avLst/>
          </a:prstGeom>
          <a:noFill/>
        </p:spPr>
        <p:txBody>
          <a:bodyPr wrap="square" rtlCol="0">
            <a:spAutoFit/>
          </a:bodyPr>
          <a:lstStyle/>
          <a:p>
            <a:pPr algn="ctr"/>
            <a:r>
              <a:rPr lang="es-ES" sz="2000" b="1" dirty="0" smtClean="0"/>
              <a:t>En 2012 los principales demandantes*:</a:t>
            </a:r>
            <a:endParaRPr lang="es-ES" sz="2000" b="1" dirty="0"/>
          </a:p>
        </p:txBody>
      </p:sp>
      <p:sp>
        <p:nvSpPr>
          <p:cNvPr id="9" name="8 CuadroTexto"/>
          <p:cNvSpPr txBox="1"/>
          <p:nvPr/>
        </p:nvSpPr>
        <p:spPr>
          <a:xfrm>
            <a:off x="240724" y="1844055"/>
            <a:ext cx="658775" cy="400110"/>
          </a:xfrm>
          <a:prstGeom prst="rect">
            <a:avLst/>
          </a:prstGeom>
          <a:noFill/>
        </p:spPr>
        <p:txBody>
          <a:bodyPr wrap="square" rtlCol="0">
            <a:spAutoFit/>
          </a:bodyPr>
          <a:lstStyle/>
          <a:p>
            <a:r>
              <a:rPr lang="es-ES" sz="2000" b="1" dirty="0">
                <a:solidFill>
                  <a:schemeClr val="tx2"/>
                </a:solidFill>
                <a:effectLst>
                  <a:outerShdw blurRad="38100" dist="38100" dir="2700000" algn="tl">
                    <a:srgbClr val="000000">
                      <a:alpha val="43137"/>
                    </a:srgbClr>
                  </a:outerShdw>
                </a:effectLst>
                <a:cs typeface="Arial" pitchFamily="34" charset="0"/>
              </a:rPr>
              <a:t>1º</a:t>
            </a:r>
          </a:p>
        </p:txBody>
      </p:sp>
      <p:sp>
        <p:nvSpPr>
          <p:cNvPr id="10" name="9 CuadroTexto"/>
          <p:cNvSpPr txBox="1"/>
          <p:nvPr/>
        </p:nvSpPr>
        <p:spPr>
          <a:xfrm>
            <a:off x="1353715" y="1854969"/>
            <a:ext cx="1471220" cy="400110"/>
          </a:xfrm>
          <a:prstGeom prst="rect">
            <a:avLst/>
          </a:prstGeom>
          <a:noFill/>
        </p:spPr>
        <p:txBody>
          <a:bodyPr wrap="square" rtlCol="0">
            <a:spAutoFit/>
          </a:bodyPr>
          <a:lstStyle/>
          <a:p>
            <a:r>
              <a:rPr lang="es-ES" sz="2000" b="1" dirty="0" smtClean="0"/>
              <a:t>China</a:t>
            </a:r>
            <a:endParaRPr lang="es-ES" sz="2000" b="1" dirty="0"/>
          </a:p>
        </p:txBody>
      </p:sp>
      <p:sp>
        <p:nvSpPr>
          <p:cNvPr id="12" name="11 CuadroTexto"/>
          <p:cNvSpPr txBox="1"/>
          <p:nvPr/>
        </p:nvSpPr>
        <p:spPr>
          <a:xfrm>
            <a:off x="3572981" y="1870804"/>
            <a:ext cx="2416422" cy="400110"/>
          </a:xfrm>
          <a:prstGeom prst="rect">
            <a:avLst/>
          </a:prstGeom>
          <a:noFill/>
        </p:spPr>
        <p:txBody>
          <a:bodyPr wrap="square" rtlCol="0">
            <a:spAutoFit/>
          </a:bodyPr>
          <a:lstStyle/>
          <a:p>
            <a:r>
              <a:rPr lang="es-ES" sz="2000" b="1" dirty="0" smtClean="0"/>
              <a:t>Estados Unidos</a:t>
            </a:r>
            <a:endParaRPr lang="es-ES" sz="2000" b="1" dirty="0"/>
          </a:p>
        </p:txBody>
      </p:sp>
      <p:sp>
        <p:nvSpPr>
          <p:cNvPr id="13" name="2 CuadroTexto"/>
          <p:cNvSpPr txBox="1"/>
          <p:nvPr/>
        </p:nvSpPr>
        <p:spPr>
          <a:xfrm>
            <a:off x="1047930" y="1335767"/>
            <a:ext cx="1867886" cy="400110"/>
          </a:xfrm>
          <a:prstGeom prst="rect">
            <a:avLst/>
          </a:prstGeom>
          <a:no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00"/>
              </a:spcAft>
              <a:defRPr/>
            </a:pPr>
            <a:r>
              <a:rPr lang="es-PE" sz="2000" dirty="0" smtClean="0">
                <a:solidFill>
                  <a:schemeClr val="tx2"/>
                </a:solidFill>
                <a:effectLst>
                  <a:outerShdw blurRad="38100" dist="38100" dir="2700000" algn="tl">
                    <a:srgbClr val="000000">
                      <a:alpha val="43137"/>
                    </a:srgbClr>
                  </a:outerShdw>
                </a:effectLst>
                <a:cs typeface="Arial" pitchFamily="34" charset="0"/>
              </a:rPr>
              <a:t>Tradicional</a:t>
            </a:r>
            <a:endParaRPr lang="es-PE" sz="2000" dirty="0">
              <a:solidFill>
                <a:schemeClr val="tx2"/>
              </a:solidFill>
              <a:effectLst>
                <a:outerShdw blurRad="38100" dist="38100" dir="2700000" algn="tl">
                  <a:srgbClr val="000000">
                    <a:alpha val="43137"/>
                  </a:srgbClr>
                </a:outerShdw>
              </a:effectLst>
              <a:cs typeface="Arial" pitchFamily="34" charset="0"/>
            </a:endParaRPr>
          </a:p>
        </p:txBody>
      </p:sp>
      <p:sp>
        <p:nvSpPr>
          <p:cNvPr id="14" name="2 CuadroTexto"/>
          <p:cNvSpPr txBox="1"/>
          <p:nvPr/>
        </p:nvSpPr>
        <p:spPr>
          <a:xfrm>
            <a:off x="3491880" y="1383708"/>
            <a:ext cx="2376263" cy="400110"/>
          </a:xfrm>
          <a:prstGeom prst="rect">
            <a:avLst/>
          </a:prstGeom>
          <a:no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00"/>
              </a:spcAft>
              <a:defRPr/>
            </a:pPr>
            <a:r>
              <a:rPr lang="es-PE" sz="2000" dirty="0" smtClean="0">
                <a:solidFill>
                  <a:schemeClr val="tx2"/>
                </a:solidFill>
                <a:effectLst>
                  <a:outerShdw blurRad="38100" dist="38100" dir="2700000" algn="tl">
                    <a:srgbClr val="000000">
                      <a:alpha val="43137"/>
                    </a:srgbClr>
                  </a:outerShdw>
                </a:effectLst>
                <a:cs typeface="Arial" pitchFamily="34" charset="0"/>
              </a:rPr>
              <a:t>No Tradicional</a:t>
            </a:r>
            <a:endParaRPr lang="es-PE" sz="2000" dirty="0">
              <a:solidFill>
                <a:schemeClr val="tx2"/>
              </a:solidFill>
              <a:effectLst>
                <a:outerShdw blurRad="38100" dist="38100" dir="2700000" algn="tl">
                  <a:srgbClr val="000000">
                    <a:alpha val="43137"/>
                  </a:srgbClr>
                </a:outerShdw>
              </a:effectLst>
              <a:cs typeface="Arial" pitchFamily="34" charset="0"/>
            </a:endParaRPr>
          </a:p>
        </p:txBody>
      </p:sp>
      <p:cxnSp>
        <p:nvCxnSpPr>
          <p:cNvPr id="15" name="14 Conector recto"/>
          <p:cNvCxnSpPr/>
          <p:nvPr/>
        </p:nvCxnSpPr>
        <p:spPr>
          <a:xfrm>
            <a:off x="3171098" y="1366657"/>
            <a:ext cx="0" cy="5166184"/>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17 Conector recto"/>
          <p:cNvCxnSpPr/>
          <p:nvPr/>
        </p:nvCxnSpPr>
        <p:spPr>
          <a:xfrm>
            <a:off x="6149531" y="1335766"/>
            <a:ext cx="0" cy="5059296"/>
          </a:xfrm>
          <a:prstGeom prst="line">
            <a:avLst/>
          </a:prstGeom>
        </p:spPr>
        <p:style>
          <a:lnRef idx="1">
            <a:schemeClr val="accent1"/>
          </a:lnRef>
          <a:fillRef idx="0">
            <a:schemeClr val="accent1"/>
          </a:fillRef>
          <a:effectRef idx="0">
            <a:schemeClr val="accent1"/>
          </a:effectRef>
          <a:fontRef idx="minor">
            <a:schemeClr val="tx1"/>
          </a:fontRef>
        </p:style>
      </p:cxnSp>
      <p:sp>
        <p:nvSpPr>
          <p:cNvPr id="19" name="2 CuadroTexto"/>
          <p:cNvSpPr txBox="1"/>
          <p:nvPr/>
        </p:nvSpPr>
        <p:spPr>
          <a:xfrm>
            <a:off x="6896901" y="1342974"/>
            <a:ext cx="1120775" cy="400110"/>
          </a:xfrm>
          <a:prstGeom prst="rect">
            <a:avLst/>
          </a:prstGeom>
          <a:no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00"/>
              </a:spcAft>
              <a:defRPr/>
            </a:pPr>
            <a:r>
              <a:rPr lang="es-PE" sz="2000" dirty="0" smtClean="0">
                <a:solidFill>
                  <a:schemeClr val="tx2"/>
                </a:solidFill>
                <a:effectLst>
                  <a:outerShdw blurRad="38100" dist="38100" dir="2700000" algn="tl">
                    <a:srgbClr val="000000">
                      <a:alpha val="43137"/>
                    </a:srgbClr>
                  </a:outerShdw>
                </a:effectLst>
                <a:cs typeface="Arial" pitchFamily="34" charset="0"/>
              </a:rPr>
              <a:t>Total</a:t>
            </a:r>
            <a:endParaRPr lang="es-PE" sz="2000" dirty="0">
              <a:solidFill>
                <a:schemeClr val="tx2"/>
              </a:solidFill>
              <a:effectLst>
                <a:outerShdw blurRad="38100" dist="38100" dir="2700000" algn="tl">
                  <a:srgbClr val="000000">
                    <a:alpha val="43137"/>
                  </a:srgbClr>
                </a:outerShdw>
              </a:effectLst>
              <a:cs typeface="Arial" pitchFamily="34" charset="0"/>
            </a:endParaRPr>
          </a:p>
        </p:txBody>
      </p:sp>
      <p:sp>
        <p:nvSpPr>
          <p:cNvPr id="20" name="19 CuadroTexto"/>
          <p:cNvSpPr txBox="1"/>
          <p:nvPr/>
        </p:nvSpPr>
        <p:spPr>
          <a:xfrm>
            <a:off x="6686392" y="1854969"/>
            <a:ext cx="1541795" cy="400110"/>
          </a:xfrm>
          <a:prstGeom prst="rect">
            <a:avLst/>
          </a:prstGeom>
          <a:noFill/>
        </p:spPr>
        <p:txBody>
          <a:bodyPr wrap="square" rtlCol="0">
            <a:spAutoFit/>
          </a:bodyPr>
          <a:lstStyle/>
          <a:p>
            <a:pPr algn="ctr"/>
            <a:r>
              <a:rPr lang="es-ES" sz="2000" b="1" dirty="0" smtClean="0"/>
              <a:t>China</a:t>
            </a:r>
            <a:endParaRPr lang="es-ES" sz="2000" b="1" dirty="0"/>
          </a:p>
        </p:txBody>
      </p:sp>
      <p:sp>
        <p:nvSpPr>
          <p:cNvPr id="17" name="16 CuadroTexto"/>
          <p:cNvSpPr txBox="1"/>
          <p:nvPr/>
        </p:nvSpPr>
        <p:spPr>
          <a:xfrm>
            <a:off x="971600" y="2204864"/>
            <a:ext cx="2255746" cy="369332"/>
          </a:xfrm>
          <a:prstGeom prst="rect">
            <a:avLst/>
          </a:prstGeom>
          <a:noFill/>
        </p:spPr>
        <p:txBody>
          <a:bodyPr wrap="none" rtlCol="0">
            <a:spAutoFit/>
          </a:bodyPr>
          <a:lstStyle/>
          <a:p>
            <a:r>
              <a:rPr lang="es-ES" dirty="0" smtClean="0"/>
              <a:t>US$ 7,520 / +13.4%</a:t>
            </a:r>
            <a:endParaRPr lang="es-ES" dirty="0"/>
          </a:p>
        </p:txBody>
      </p:sp>
      <p:sp>
        <p:nvSpPr>
          <p:cNvPr id="22" name="21 CuadroTexto"/>
          <p:cNvSpPr txBox="1"/>
          <p:nvPr/>
        </p:nvSpPr>
        <p:spPr>
          <a:xfrm>
            <a:off x="3851920" y="2276872"/>
            <a:ext cx="2174506" cy="369332"/>
          </a:xfrm>
          <a:prstGeom prst="rect">
            <a:avLst/>
          </a:prstGeom>
          <a:noFill/>
        </p:spPr>
        <p:txBody>
          <a:bodyPr wrap="none" rtlCol="0">
            <a:spAutoFit/>
          </a:bodyPr>
          <a:lstStyle/>
          <a:p>
            <a:r>
              <a:rPr lang="es-ES" dirty="0" smtClean="0"/>
              <a:t>US$ 2,619/ +11.8%</a:t>
            </a:r>
            <a:endParaRPr lang="es-ES" dirty="0"/>
          </a:p>
        </p:txBody>
      </p:sp>
      <p:sp>
        <p:nvSpPr>
          <p:cNvPr id="23" name="22 CuadroTexto"/>
          <p:cNvSpPr txBox="1"/>
          <p:nvPr/>
        </p:nvSpPr>
        <p:spPr>
          <a:xfrm>
            <a:off x="6660232" y="2204864"/>
            <a:ext cx="2255746" cy="369332"/>
          </a:xfrm>
          <a:prstGeom prst="rect">
            <a:avLst/>
          </a:prstGeom>
          <a:noFill/>
        </p:spPr>
        <p:txBody>
          <a:bodyPr wrap="none" rtlCol="0">
            <a:spAutoFit/>
          </a:bodyPr>
          <a:lstStyle/>
          <a:p>
            <a:r>
              <a:rPr lang="es-ES" dirty="0" smtClean="0"/>
              <a:t>US$ 7,850 / +12.7%</a:t>
            </a:r>
            <a:endParaRPr lang="es-ES" dirty="0"/>
          </a:p>
        </p:txBody>
      </p:sp>
      <p:sp>
        <p:nvSpPr>
          <p:cNvPr id="26" name="25 CuadroTexto"/>
          <p:cNvSpPr txBox="1"/>
          <p:nvPr/>
        </p:nvSpPr>
        <p:spPr>
          <a:xfrm>
            <a:off x="258457" y="2812866"/>
            <a:ext cx="908433" cy="400110"/>
          </a:xfrm>
          <a:prstGeom prst="rect">
            <a:avLst/>
          </a:prstGeom>
          <a:noFill/>
        </p:spPr>
        <p:txBody>
          <a:bodyPr wrap="square" rtlCol="0">
            <a:spAutoFit/>
          </a:bodyPr>
          <a:lstStyle/>
          <a:p>
            <a:r>
              <a:rPr lang="es-ES" sz="2000" b="1" dirty="0" smtClean="0">
                <a:solidFill>
                  <a:schemeClr val="tx2"/>
                </a:solidFill>
                <a:effectLst>
                  <a:outerShdw blurRad="38100" dist="38100" dir="2700000" algn="tl">
                    <a:srgbClr val="000000">
                      <a:alpha val="43137"/>
                    </a:srgbClr>
                  </a:outerShdw>
                </a:effectLst>
                <a:cs typeface="Arial" pitchFamily="34" charset="0"/>
              </a:rPr>
              <a:t>2º</a:t>
            </a:r>
            <a:endParaRPr lang="es-ES" sz="2000" b="1" dirty="0">
              <a:solidFill>
                <a:schemeClr val="tx2"/>
              </a:solidFill>
              <a:effectLst>
                <a:outerShdw blurRad="38100" dist="38100" dir="2700000" algn="tl">
                  <a:srgbClr val="000000">
                    <a:alpha val="43137"/>
                  </a:srgbClr>
                </a:outerShdw>
              </a:effectLst>
              <a:cs typeface="Arial" pitchFamily="34" charset="0"/>
            </a:endParaRPr>
          </a:p>
        </p:txBody>
      </p:sp>
      <p:sp>
        <p:nvSpPr>
          <p:cNvPr id="27" name="26 CuadroTexto"/>
          <p:cNvSpPr txBox="1"/>
          <p:nvPr/>
        </p:nvSpPr>
        <p:spPr>
          <a:xfrm>
            <a:off x="1392970" y="2809839"/>
            <a:ext cx="1086926" cy="400110"/>
          </a:xfrm>
          <a:prstGeom prst="rect">
            <a:avLst/>
          </a:prstGeom>
          <a:noFill/>
        </p:spPr>
        <p:txBody>
          <a:bodyPr wrap="square" rtlCol="0">
            <a:spAutoFit/>
          </a:bodyPr>
          <a:lstStyle/>
          <a:p>
            <a:r>
              <a:rPr lang="es-ES" sz="2000" b="1" dirty="0" smtClean="0"/>
              <a:t>Suiza</a:t>
            </a:r>
            <a:endParaRPr lang="es-ES" sz="2000" b="1" dirty="0"/>
          </a:p>
        </p:txBody>
      </p:sp>
      <p:sp>
        <p:nvSpPr>
          <p:cNvPr id="28" name="27 CuadroTexto"/>
          <p:cNvSpPr txBox="1"/>
          <p:nvPr/>
        </p:nvSpPr>
        <p:spPr>
          <a:xfrm>
            <a:off x="971600" y="3140968"/>
            <a:ext cx="2198038" cy="369332"/>
          </a:xfrm>
          <a:prstGeom prst="rect">
            <a:avLst/>
          </a:prstGeom>
          <a:noFill/>
        </p:spPr>
        <p:txBody>
          <a:bodyPr wrap="none" rtlCol="0">
            <a:spAutoFit/>
          </a:bodyPr>
          <a:lstStyle/>
          <a:p>
            <a:r>
              <a:rPr lang="es-ES" dirty="0" smtClean="0"/>
              <a:t>US$ 5,048 / -14.8%</a:t>
            </a:r>
            <a:endParaRPr lang="es-ES" dirty="0"/>
          </a:p>
        </p:txBody>
      </p:sp>
      <p:sp>
        <p:nvSpPr>
          <p:cNvPr id="29" name="28 CuadroTexto"/>
          <p:cNvSpPr txBox="1"/>
          <p:nvPr/>
        </p:nvSpPr>
        <p:spPr>
          <a:xfrm>
            <a:off x="3150985" y="2792168"/>
            <a:ext cx="2998547" cy="400110"/>
          </a:xfrm>
          <a:prstGeom prst="rect">
            <a:avLst/>
          </a:prstGeom>
          <a:noFill/>
        </p:spPr>
        <p:txBody>
          <a:bodyPr wrap="square" rtlCol="0">
            <a:spAutoFit/>
          </a:bodyPr>
          <a:lstStyle/>
          <a:p>
            <a:pPr algn="ctr"/>
            <a:r>
              <a:rPr lang="es-ES" sz="2000" b="1" dirty="0" smtClean="0"/>
              <a:t>Venezuela</a:t>
            </a:r>
            <a:endParaRPr lang="es-ES" sz="2000" b="1" dirty="0"/>
          </a:p>
        </p:txBody>
      </p:sp>
      <p:sp>
        <p:nvSpPr>
          <p:cNvPr id="30" name="29 CuadroTexto"/>
          <p:cNvSpPr txBox="1"/>
          <p:nvPr/>
        </p:nvSpPr>
        <p:spPr>
          <a:xfrm>
            <a:off x="3707904" y="3140968"/>
            <a:ext cx="2191626" cy="369332"/>
          </a:xfrm>
          <a:prstGeom prst="rect">
            <a:avLst/>
          </a:prstGeom>
          <a:noFill/>
        </p:spPr>
        <p:txBody>
          <a:bodyPr wrap="none" rtlCol="0">
            <a:spAutoFit/>
          </a:bodyPr>
          <a:lstStyle/>
          <a:p>
            <a:r>
              <a:rPr lang="es-ES" dirty="0" smtClean="0"/>
              <a:t>US$ 1,177/ +31.8%</a:t>
            </a:r>
            <a:endParaRPr lang="es-ES" dirty="0"/>
          </a:p>
        </p:txBody>
      </p:sp>
      <p:sp>
        <p:nvSpPr>
          <p:cNvPr id="31" name="30 CuadroTexto"/>
          <p:cNvSpPr txBox="1"/>
          <p:nvPr/>
        </p:nvSpPr>
        <p:spPr>
          <a:xfrm>
            <a:off x="6320037" y="2749970"/>
            <a:ext cx="2362781" cy="400110"/>
          </a:xfrm>
          <a:prstGeom prst="rect">
            <a:avLst/>
          </a:prstGeom>
          <a:noFill/>
        </p:spPr>
        <p:txBody>
          <a:bodyPr wrap="square" rtlCol="0">
            <a:spAutoFit/>
          </a:bodyPr>
          <a:lstStyle/>
          <a:p>
            <a:r>
              <a:rPr lang="es-ES" sz="2000" b="1" dirty="0" smtClean="0"/>
              <a:t>Estados Unidos</a:t>
            </a:r>
            <a:endParaRPr lang="es-ES" sz="2000" b="1" dirty="0"/>
          </a:p>
        </p:txBody>
      </p:sp>
      <p:sp>
        <p:nvSpPr>
          <p:cNvPr id="32" name="31 CuadroTexto"/>
          <p:cNvSpPr txBox="1"/>
          <p:nvPr/>
        </p:nvSpPr>
        <p:spPr>
          <a:xfrm>
            <a:off x="6732240" y="3140968"/>
            <a:ext cx="2063385" cy="369332"/>
          </a:xfrm>
          <a:prstGeom prst="rect">
            <a:avLst/>
          </a:prstGeom>
          <a:noFill/>
        </p:spPr>
        <p:txBody>
          <a:bodyPr wrap="none" rtlCol="0">
            <a:spAutoFit/>
          </a:bodyPr>
          <a:lstStyle/>
          <a:p>
            <a:r>
              <a:rPr lang="es-ES" dirty="0" smtClean="0"/>
              <a:t>US$ 6,327/ +5.0%</a:t>
            </a:r>
            <a:endParaRPr lang="es-ES" dirty="0"/>
          </a:p>
        </p:txBody>
      </p:sp>
      <p:sp>
        <p:nvSpPr>
          <p:cNvPr id="33" name="32 CuadroTexto"/>
          <p:cNvSpPr txBox="1"/>
          <p:nvPr/>
        </p:nvSpPr>
        <p:spPr>
          <a:xfrm>
            <a:off x="101258" y="6534836"/>
            <a:ext cx="2454518" cy="307777"/>
          </a:xfrm>
          <a:prstGeom prst="rect">
            <a:avLst/>
          </a:prstGeom>
          <a:noFill/>
        </p:spPr>
        <p:txBody>
          <a:bodyPr wrap="none" rtlCol="0">
            <a:spAutoFit/>
          </a:bodyPr>
          <a:lstStyle/>
          <a:p>
            <a:r>
              <a:rPr lang="es-ES" sz="1400" b="1" dirty="0" smtClean="0"/>
              <a:t>*Cifras en millones de US$</a:t>
            </a:r>
          </a:p>
        </p:txBody>
      </p:sp>
      <p:sp>
        <p:nvSpPr>
          <p:cNvPr id="36" name="35 CuadroTexto"/>
          <p:cNvSpPr txBox="1"/>
          <p:nvPr/>
        </p:nvSpPr>
        <p:spPr>
          <a:xfrm>
            <a:off x="249591" y="3748970"/>
            <a:ext cx="641042" cy="400110"/>
          </a:xfrm>
          <a:prstGeom prst="rect">
            <a:avLst/>
          </a:prstGeom>
          <a:noFill/>
        </p:spPr>
        <p:txBody>
          <a:bodyPr wrap="square" rtlCol="0">
            <a:spAutoFit/>
          </a:bodyPr>
          <a:lstStyle/>
          <a:p>
            <a:r>
              <a:rPr lang="es-ES" sz="2000" b="1" dirty="0">
                <a:solidFill>
                  <a:schemeClr val="tx2"/>
                </a:solidFill>
                <a:effectLst>
                  <a:outerShdw blurRad="38100" dist="38100" dir="2700000" algn="tl">
                    <a:srgbClr val="000000">
                      <a:alpha val="43137"/>
                    </a:srgbClr>
                  </a:outerShdw>
                </a:effectLst>
                <a:cs typeface="Arial" pitchFamily="34" charset="0"/>
              </a:rPr>
              <a:t>3</a:t>
            </a:r>
            <a:r>
              <a:rPr lang="es-ES" sz="2000" b="1" dirty="0" smtClean="0">
                <a:solidFill>
                  <a:schemeClr val="tx2"/>
                </a:solidFill>
                <a:effectLst>
                  <a:outerShdw blurRad="38100" dist="38100" dir="2700000" algn="tl">
                    <a:srgbClr val="000000">
                      <a:alpha val="43137"/>
                    </a:srgbClr>
                  </a:outerShdw>
                </a:effectLst>
                <a:cs typeface="Arial" pitchFamily="34" charset="0"/>
              </a:rPr>
              <a:t>º</a:t>
            </a:r>
            <a:endParaRPr lang="es-ES" sz="2000" b="1" dirty="0">
              <a:solidFill>
                <a:schemeClr val="tx2"/>
              </a:solidFill>
              <a:effectLst>
                <a:outerShdw blurRad="38100" dist="38100" dir="2700000" algn="tl">
                  <a:srgbClr val="000000">
                    <a:alpha val="43137"/>
                  </a:srgbClr>
                </a:outerShdw>
              </a:effectLst>
              <a:cs typeface="Arial" pitchFamily="34" charset="0"/>
            </a:endParaRPr>
          </a:p>
        </p:txBody>
      </p:sp>
      <p:sp>
        <p:nvSpPr>
          <p:cNvPr id="38" name="37 CuadroTexto"/>
          <p:cNvSpPr txBox="1"/>
          <p:nvPr/>
        </p:nvSpPr>
        <p:spPr>
          <a:xfrm>
            <a:off x="834318" y="3782108"/>
            <a:ext cx="2306243" cy="400110"/>
          </a:xfrm>
          <a:prstGeom prst="rect">
            <a:avLst/>
          </a:prstGeom>
          <a:noFill/>
        </p:spPr>
        <p:txBody>
          <a:bodyPr wrap="square" rtlCol="0">
            <a:spAutoFit/>
          </a:bodyPr>
          <a:lstStyle/>
          <a:p>
            <a:pPr algn="ctr"/>
            <a:r>
              <a:rPr lang="es-ES" sz="2000" b="1" dirty="0" smtClean="0"/>
              <a:t>Estados Unidos</a:t>
            </a:r>
            <a:endParaRPr lang="es-ES" sz="2000" b="1" dirty="0"/>
          </a:p>
        </p:txBody>
      </p:sp>
      <p:sp>
        <p:nvSpPr>
          <p:cNvPr id="42" name="41 CuadroTexto"/>
          <p:cNvSpPr txBox="1"/>
          <p:nvPr/>
        </p:nvSpPr>
        <p:spPr>
          <a:xfrm>
            <a:off x="971600" y="4149080"/>
            <a:ext cx="2191626" cy="369332"/>
          </a:xfrm>
          <a:prstGeom prst="rect">
            <a:avLst/>
          </a:prstGeom>
          <a:noFill/>
        </p:spPr>
        <p:txBody>
          <a:bodyPr wrap="none" rtlCol="0">
            <a:spAutoFit/>
          </a:bodyPr>
          <a:lstStyle/>
          <a:p>
            <a:r>
              <a:rPr lang="es-ES" dirty="0" smtClean="0"/>
              <a:t>US$ 3,3708/ +0.7%</a:t>
            </a:r>
            <a:endParaRPr lang="es-ES" dirty="0"/>
          </a:p>
        </p:txBody>
      </p:sp>
      <p:sp>
        <p:nvSpPr>
          <p:cNvPr id="43" name="42 CuadroTexto"/>
          <p:cNvSpPr txBox="1"/>
          <p:nvPr/>
        </p:nvSpPr>
        <p:spPr>
          <a:xfrm>
            <a:off x="3191770" y="3782108"/>
            <a:ext cx="2998547" cy="400110"/>
          </a:xfrm>
          <a:prstGeom prst="rect">
            <a:avLst/>
          </a:prstGeom>
          <a:noFill/>
        </p:spPr>
        <p:txBody>
          <a:bodyPr wrap="square" rtlCol="0">
            <a:spAutoFit/>
          </a:bodyPr>
          <a:lstStyle/>
          <a:p>
            <a:pPr algn="ctr"/>
            <a:r>
              <a:rPr lang="es-ES" sz="2000" b="1" dirty="0" smtClean="0"/>
              <a:t>Colombia</a:t>
            </a:r>
            <a:endParaRPr lang="es-ES" sz="2000" b="1" dirty="0"/>
          </a:p>
        </p:txBody>
      </p:sp>
      <p:sp>
        <p:nvSpPr>
          <p:cNvPr id="44" name="43 CuadroTexto"/>
          <p:cNvSpPr txBox="1"/>
          <p:nvPr/>
        </p:nvSpPr>
        <p:spPr>
          <a:xfrm>
            <a:off x="3923928" y="4149080"/>
            <a:ext cx="1813317" cy="369332"/>
          </a:xfrm>
          <a:prstGeom prst="rect">
            <a:avLst/>
          </a:prstGeom>
          <a:noFill/>
        </p:spPr>
        <p:txBody>
          <a:bodyPr wrap="none" rtlCol="0">
            <a:spAutoFit/>
          </a:bodyPr>
          <a:lstStyle/>
          <a:p>
            <a:r>
              <a:rPr lang="es-ES" dirty="0" smtClean="0"/>
              <a:t>US$ 765/ -7.4%</a:t>
            </a:r>
            <a:endParaRPr lang="es-ES" dirty="0"/>
          </a:p>
        </p:txBody>
      </p:sp>
      <p:sp>
        <p:nvSpPr>
          <p:cNvPr id="45" name="44 CuadroTexto"/>
          <p:cNvSpPr txBox="1"/>
          <p:nvPr/>
        </p:nvSpPr>
        <p:spPr>
          <a:xfrm>
            <a:off x="6984849" y="3716985"/>
            <a:ext cx="1014019" cy="400110"/>
          </a:xfrm>
          <a:prstGeom prst="rect">
            <a:avLst/>
          </a:prstGeom>
          <a:noFill/>
        </p:spPr>
        <p:txBody>
          <a:bodyPr wrap="square" rtlCol="0">
            <a:spAutoFit/>
          </a:bodyPr>
          <a:lstStyle/>
          <a:p>
            <a:r>
              <a:rPr lang="es-ES" sz="2000" b="1" dirty="0" smtClean="0"/>
              <a:t>Suiza</a:t>
            </a:r>
            <a:endParaRPr lang="es-ES" sz="2000" b="1" dirty="0"/>
          </a:p>
        </p:txBody>
      </p:sp>
      <p:sp>
        <p:nvSpPr>
          <p:cNvPr id="46" name="45 CuadroTexto"/>
          <p:cNvSpPr txBox="1"/>
          <p:nvPr/>
        </p:nvSpPr>
        <p:spPr>
          <a:xfrm>
            <a:off x="6660232" y="4077072"/>
            <a:ext cx="2133918" cy="369332"/>
          </a:xfrm>
          <a:prstGeom prst="rect">
            <a:avLst/>
          </a:prstGeom>
          <a:noFill/>
        </p:spPr>
        <p:txBody>
          <a:bodyPr wrap="none" rtlCol="0">
            <a:spAutoFit/>
          </a:bodyPr>
          <a:lstStyle/>
          <a:p>
            <a:r>
              <a:rPr lang="es-ES" dirty="0" smtClean="0"/>
              <a:t>US$ 5,074/ -14.5%</a:t>
            </a:r>
            <a:endParaRPr lang="es-ES" dirty="0"/>
          </a:p>
        </p:txBody>
      </p:sp>
      <p:sp>
        <p:nvSpPr>
          <p:cNvPr id="48" name="47 CuadroTexto"/>
          <p:cNvSpPr txBox="1"/>
          <p:nvPr/>
        </p:nvSpPr>
        <p:spPr>
          <a:xfrm>
            <a:off x="237963" y="4757082"/>
            <a:ext cx="641042" cy="400110"/>
          </a:xfrm>
          <a:prstGeom prst="rect">
            <a:avLst/>
          </a:prstGeom>
          <a:noFill/>
        </p:spPr>
        <p:txBody>
          <a:bodyPr wrap="square" rtlCol="0">
            <a:spAutoFit/>
          </a:bodyPr>
          <a:lstStyle/>
          <a:p>
            <a:r>
              <a:rPr lang="es-ES" sz="2000" b="1" dirty="0" smtClean="0">
                <a:solidFill>
                  <a:schemeClr val="tx2"/>
                </a:solidFill>
                <a:effectLst>
                  <a:outerShdw blurRad="38100" dist="38100" dir="2700000" algn="tl">
                    <a:srgbClr val="000000">
                      <a:alpha val="43137"/>
                    </a:srgbClr>
                  </a:outerShdw>
                </a:effectLst>
                <a:cs typeface="Arial" pitchFamily="34" charset="0"/>
              </a:rPr>
              <a:t>4º</a:t>
            </a:r>
            <a:endParaRPr lang="es-ES" sz="2000" b="1" dirty="0">
              <a:solidFill>
                <a:schemeClr val="tx2"/>
              </a:solidFill>
              <a:effectLst>
                <a:outerShdw blurRad="38100" dist="38100" dir="2700000" algn="tl">
                  <a:srgbClr val="000000">
                    <a:alpha val="43137"/>
                  </a:srgbClr>
                </a:outerShdw>
              </a:effectLst>
              <a:cs typeface="Arial" pitchFamily="34" charset="0"/>
            </a:endParaRPr>
          </a:p>
        </p:txBody>
      </p:sp>
      <p:sp>
        <p:nvSpPr>
          <p:cNvPr id="49" name="48 CuadroTexto"/>
          <p:cNvSpPr txBox="1"/>
          <p:nvPr/>
        </p:nvSpPr>
        <p:spPr>
          <a:xfrm>
            <a:off x="220149" y="5621178"/>
            <a:ext cx="641042" cy="400110"/>
          </a:xfrm>
          <a:prstGeom prst="rect">
            <a:avLst/>
          </a:prstGeom>
          <a:noFill/>
        </p:spPr>
        <p:txBody>
          <a:bodyPr wrap="square" rtlCol="0">
            <a:spAutoFit/>
          </a:bodyPr>
          <a:lstStyle/>
          <a:p>
            <a:r>
              <a:rPr lang="es-ES" sz="2000" b="1" dirty="0" smtClean="0">
                <a:solidFill>
                  <a:schemeClr val="tx2"/>
                </a:solidFill>
                <a:effectLst>
                  <a:outerShdw blurRad="38100" dist="38100" dir="2700000" algn="tl">
                    <a:srgbClr val="000000">
                      <a:alpha val="43137"/>
                    </a:srgbClr>
                  </a:outerShdw>
                </a:effectLst>
                <a:cs typeface="Arial" pitchFamily="34" charset="0"/>
              </a:rPr>
              <a:t>5º</a:t>
            </a:r>
            <a:endParaRPr lang="es-ES" sz="2000" b="1" dirty="0">
              <a:solidFill>
                <a:schemeClr val="tx2"/>
              </a:solidFill>
              <a:effectLst>
                <a:outerShdw blurRad="38100" dist="38100" dir="2700000" algn="tl">
                  <a:srgbClr val="000000">
                    <a:alpha val="43137"/>
                  </a:srgbClr>
                </a:outerShdw>
              </a:effectLst>
              <a:cs typeface="Arial" pitchFamily="34" charset="0"/>
            </a:endParaRPr>
          </a:p>
        </p:txBody>
      </p:sp>
      <p:sp>
        <p:nvSpPr>
          <p:cNvPr id="52" name="51 CuadroTexto"/>
          <p:cNvSpPr txBox="1"/>
          <p:nvPr/>
        </p:nvSpPr>
        <p:spPr>
          <a:xfrm>
            <a:off x="1200032" y="4737993"/>
            <a:ext cx="1309017" cy="400110"/>
          </a:xfrm>
          <a:prstGeom prst="rect">
            <a:avLst/>
          </a:prstGeom>
          <a:noFill/>
        </p:spPr>
        <p:txBody>
          <a:bodyPr wrap="square" rtlCol="0">
            <a:spAutoFit/>
          </a:bodyPr>
          <a:lstStyle/>
          <a:p>
            <a:r>
              <a:rPr lang="es-ES" sz="2000" b="1" dirty="0" smtClean="0"/>
              <a:t>Canadá</a:t>
            </a:r>
            <a:endParaRPr lang="es-ES" sz="2000" b="1" dirty="0"/>
          </a:p>
        </p:txBody>
      </p:sp>
      <p:sp>
        <p:nvSpPr>
          <p:cNvPr id="53" name="52 CuadroTexto"/>
          <p:cNvSpPr txBox="1"/>
          <p:nvPr/>
        </p:nvSpPr>
        <p:spPr>
          <a:xfrm>
            <a:off x="1043608" y="5085184"/>
            <a:ext cx="2133918" cy="369332"/>
          </a:xfrm>
          <a:prstGeom prst="rect">
            <a:avLst/>
          </a:prstGeom>
          <a:noFill/>
        </p:spPr>
        <p:txBody>
          <a:bodyPr wrap="none" rtlCol="0">
            <a:spAutoFit/>
          </a:bodyPr>
          <a:lstStyle/>
          <a:p>
            <a:r>
              <a:rPr lang="es-ES" dirty="0" smtClean="0"/>
              <a:t>US$ 3,341/ -19.2%</a:t>
            </a:r>
            <a:endParaRPr lang="es-ES" dirty="0"/>
          </a:p>
        </p:txBody>
      </p:sp>
      <p:sp>
        <p:nvSpPr>
          <p:cNvPr id="54" name="53 CuadroTexto"/>
          <p:cNvSpPr txBox="1"/>
          <p:nvPr/>
        </p:nvSpPr>
        <p:spPr>
          <a:xfrm>
            <a:off x="1281924" y="5656398"/>
            <a:ext cx="1193983" cy="400110"/>
          </a:xfrm>
          <a:prstGeom prst="rect">
            <a:avLst/>
          </a:prstGeom>
          <a:noFill/>
        </p:spPr>
        <p:txBody>
          <a:bodyPr wrap="square" rtlCol="0">
            <a:spAutoFit/>
          </a:bodyPr>
          <a:lstStyle/>
          <a:p>
            <a:r>
              <a:rPr lang="es-ES" sz="2000" b="1" dirty="0" smtClean="0"/>
              <a:t>Japón</a:t>
            </a:r>
            <a:endParaRPr lang="es-ES" sz="2000" b="1" dirty="0"/>
          </a:p>
        </p:txBody>
      </p:sp>
      <p:sp>
        <p:nvSpPr>
          <p:cNvPr id="55" name="54 CuadroTexto"/>
          <p:cNvSpPr txBox="1"/>
          <p:nvPr/>
        </p:nvSpPr>
        <p:spPr>
          <a:xfrm>
            <a:off x="971600" y="5949280"/>
            <a:ext cx="2191626" cy="369332"/>
          </a:xfrm>
          <a:prstGeom prst="rect">
            <a:avLst/>
          </a:prstGeom>
          <a:noFill/>
        </p:spPr>
        <p:txBody>
          <a:bodyPr wrap="none" rtlCol="0">
            <a:spAutoFit/>
          </a:bodyPr>
          <a:lstStyle/>
          <a:p>
            <a:r>
              <a:rPr lang="es-ES" dirty="0" smtClean="0"/>
              <a:t>US$ 2,240/ +19.6%</a:t>
            </a:r>
            <a:endParaRPr lang="es-ES" dirty="0"/>
          </a:p>
        </p:txBody>
      </p:sp>
      <p:sp>
        <p:nvSpPr>
          <p:cNvPr id="56" name="55 CuadroTexto"/>
          <p:cNvSpPr txBox="1"/>
          <p:nvPr/>
        </p:nvSpPr>
        <p:spPr>
          <a:xfrm>
            <a:off x="3150985" y="4692580"/>
            <a:ext cx="2998547" cy="400110"/>
          </a:xfrm>
          <a:prstGeom prst="rect">
            <a:avLst/>
          </a:prstGeom>
          <a:noFill/>
        </p:spPr>
        <p:txBody>
          <a:bodyPr wrap="square" rtlCol="0">
            <a:spAutoFit/>
          </a:bodyPr>
          <a:lstStyle/>
          <a:p>
            <a:pPr algn="ctr"/>
            <a:r>
              <a:rPr lang="es-ES" sz="2000" b="1" dirty="0" smtClean="0"/>
              <a:t>Ecuador</a:t>
            </a:r>
            <a:endParaRPr lang="es-ES" sz="2000" b="1" dirty="0"/>
          </a:p>
        </p:txBody>
      </p:sp>
      <p:sp>
        <p:nvSpPr>
          <p:cNvPr id="57" name="56 CuadroTexto"/>
          <p:cNvSpPr txBox="1"/>
          <p:nvPr/>
        </p:nvSpPr>
        <p:spPr>
          <a:xfrm>
            <a:off x="3160463" y="5627058"/>
            <a:ext cx="2998547" cy="400110"/>
          </a:xfrm>
          <a:prstGeom prst="rect">
            <a:avLst/>
          </a:prstGeom>
          <a:noFill/>
        </p:spPr>
        <p:txBody>
          <a:bodyPr wrap="square" rtlCol="0">
            <a:spAutoFit/>
          </a:bodyPr>
          <a:lstStyle/>
          <a:p>
            <a:pPr algn="ctr"/>
            <a:r>
              <a:rPr lang="es-ES" sz="2000" b="1" dirty="0" smtClean="0"/>
              <a:t>Chile</a:t>
            </a:r>
            <a:endParaRPr lang="es-ES" sz="2000" b="1" dirty="0"/>
          </a:p>
        </p:txBody>
      </p:sp>
      <p:sp>
        <p:nvSpPr>
          <p:cNvPr id="59" name="58 CuadroTexto"/>
          <p:cNvSpPr txBox="1"/>
          <p:nvPr/>
        </p:nvSpPr>
        <p:spPr>
          <a:xfrm>
            <a:off x="3851920" y="5013176"/>
            <a:ext cx="1999265" cy="369332"/>
          </a:xfrm>
          <a:prstGeom prst="rect">
            <a:avLst/>
          </a:prstGeom>
          <a:noFill/>
        </p:spPr>
        <p:txBody>
          <a:bodyPr wrap="none" rtlCol="0">
            <a:spAutoFit/>
          </a:bodyPr>
          <a:lstStyle/>
          <a:p>
            <a:r>
              <a:rPr lang="es-ES" dirty="0" smtClean="0"/>
              <a:t>US$ 737/ +19.2%</a:t>
            </a:r>
            <a:endParaRPr lang="es-ES" dirty="0"/>
          </a:p>
        </p:txBody>
      </p:sp>
      <p:sp>
        <p:nvSpPr>
          <p:cNvPr id="60" name="59 CuadroTexto"/>
          <p:cNvSpPr txBox="1"/>
          <p:nvPr/>
        </p:nvSpPr>
        <p:spPr>
          <a:xfrm>
            <a:off x="3923928" y="5949280"/>
            <a:ext cx="1864613" cy="369332"/>
          </a:xfrm>
          <a:prstGeom prst="rect">
            <a:avLst/>
          </a:prstGeom>
          <a:noFill/>
        </p:spPr>
        <p:txBody>
          <a:bodyPr wrap="none" rtlCol="0">
            <a:spAutoFit/>
          </a:bodyPr>
          <a:lstStyle/>
          <a:p>
            <a:r>
              <a:rPr lang="es-ES" dirty="0" smtClean="0"/>
              <a:t>US$ 707/ 16.3%</a:t>
            </a:r>
            <a:endParaRPr lang="es-ES" dirty="0"/>
          </a:p>
        </p:txBody>
      </p:sp>
      <p:sp>
        <p:nvSpPr>
          <p:cNvPr id="61" name="60 CuadroTexto"/>
          <p:cNvSpPr txBox="1"/>
          <p:nvPr/>
        </p:nvSpPr>
        <p:spPr>
          <a:xfrm>
            <a:off x="6802780" y="4679710"/>
            <a:ext cx="1309017" cy="400110"/>
          </a:xfrm>
          <a:prstGeom prst="rect">
            <a:avLst/>
          </a:prstGeom>
          <a:noFill/>
        </p:spPr>
        <p:txBody>
          <a:bodyPr wrap="square" rtlCol="0">
            <a:spAutoFit/>
          </a:bodyPr>
          <a:lstStyle/>
          <a:p>
            <a:r>
              <a:rPr lang="es-ES" sz="2000" b="1" dirty="0" smtClean="0"/>
              <a:t>Canadá</a:t>
            </a:r>
            <a:endParaRPr lang="es-ES" sz="2000" b="1" dirty="0"/>
          </a:p>
        </p:txBody>
      </p:sp>
      <p:sp>
        <p:nvSpPr>
          <p:cNvPr id="62" name="61 CuadroTexto"/>
          <p:cNvSpPr txBox="1"/>
          <p:nvPr/>
        </p:nvSpPr>
        <p:spPr>
          <a:xfrm>
            <a:off x="6660232" y="5085184"/>
            <a:ext cx="2198038" cy="369332"/>
          </a:xfrm>
          <a:prstGeom prst="rect">
            <a:avLst/>
          </a:prstGeom>
          <a:noFill/>
        </p:spPr>
        <p:txBody>
          <a:bodyPr wrap="none" rtlCol="0">
            <a:spAutoFit/>
          </a:bodyPr>
          <a:lstStyle/>
          <a:p>
            <a:r>
              <a:rPr lang="es-ES" dirty="0" smtClean="0"/>
              <a:t>US$ 3,448 / -18.5%</a:t>
            </a:r>
            <a:endParaRPr lang="es-ES" dirty="0"/>
          </a:p>
        </p:txBody>
      </p:sp>
      <p:sp>
        <p:nvSpPr>
          <p:cNvPr id="63" name="62 CuadroTexto"/>
          <p:cNvSpPr txBox="1"/>
          <p:nvPr/>
        </p:nvSpPr>
        <p:spPr>
          <a:xfrm>
            <a:off x="6677490" y="6021288"/>
            <a:ext cx="2255746" cy="369332"/>
          </a:xfrm>
          <a:prstGeom prst="rect">
            <a:avLst/>
          </a:prstGeom>
          <a:noFill/>
        </p:spPr>
        <p:txBody>
          <a:bodyPr wrap="none" rtlCol="0">
            <a:spAutoFit/>
          </a:bodyPr>
          <a:lstStyle/>
          <a:p>
            <a:r>
              <a:rPr lang="es-ES" dirty="0" smtClean="0"/>
              <a:t>US$ 2,571 / +18.2%</a:t>
            </a:r>
            <a:endParaRPr lang="es-ES" dirty="0"/>
          </a:p>
        </p:txBody>
      </p:sp>
      <p:sp>
        <p:nvSpPr>
          <p:cNvPr id="64" name="63 CuadroTexto"/>
          <p:cNvSpPr txBox="1"/>
          <p:nvPr/>
        </p:nvSpPr>
        <p:spPr>
          <a:xfrm>
            <a:off x="6904435" y="5627058"/>
            <a:ext cx="982265" cy="400110"/>
          </a:xfrm>
          <a:prstGeom prst="rect">
            <a:avLst/>
          </a:prstGeom>
          <a:noFill/>
        </p:spPr>
        <p:txBody>
          <a:bodyPr wrap="square" rtlCol="0">
            <a:spAutoFit/>
          </a:bodyPr>
          <a:lstStyle/>
          <a:p>
            <a:r>
              <a:rPr lang="es-ES" sz="2000" b="1" dirty="0" smtClean="0"/>
              <a:t>Japón</a:t>
            </a:r>
            <a:endParaRPr lang="es-ES" sz="2000" b="1" dirty="0"/>
          </a:p>
        </p:txBody>
      </p:sp>
    </p:spTree>
    <p:extLst>
      <p:ext uri="{BB962C8B-B14F-4D97-AF65-F5344CB8AC3E}">
        <p14:creationId xmlns:p14="http://schemas.microsoft.com/office/powerpoint/2010/main" val="1178034180"/>
      </p:ext>
    </p:extLst>
  </p:cSld>
  <p:clrMapOvr>
    <a:masterClrMapping/>
  </p:clrMapOvr>
  <p:transition spd="slow">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CuadroTexto"/>
          <p:cNvSpPr txBox="1"/>
          <p:nvPr/>
        </p:nvSpPr>
        <p:spPr>
          <a:xfrm>
            <a:off x="258456" y="619130"/>
            <a:ext cx="8273983" cy="400110"/>
          </a:xfrm>
          <a:prstGeom prst="rect">
            <a:avLst/>
          </a:prstGeom>
          <a:noFill/>
        </p:spPr>
        <p:txBody>
          <a:bodyPr wrap="square" rtlCol="0">
            <a:spAutoFit/>
          </a:bodyPr>
          <a:lstStyle/>
          <a:p>
            <a:pPr algn="ctr"/>
            <a:r>
              <a:rPr lang="es-ES" sz="2000" dirty="0" smtClean="0"/>
              <a:t>Enero-Agosto 2013 principales demandantes*</a:t>
            </a:r>
            <a:endParaRPr lang="es-ES" sz="2000" dirty="0"/>
          </a:p>
        </p:txBody>
      </p:sp>
      <p:sp>
        <p:nvSpPr>
          <p:cNvPr id="9" name="8 CuadroTexto"/>
          <p:cNvSpPr txBox="1"/>
          <p:nvPr/>
        </p:nvSpPr>
        <p:spPr>
          <a:xfrm>
            <a:off x="240724" y="1876762"/>
            <a:ext cx="658775" cy="400110"/>
          </a:xfrm>
          <a:prstGeom prst="rect">
            <a:avLst/>
          </a:prstGeom>
          <a:noFill/>
        </p:spPr>
        <p:txBody>
          <a:bodyPr wrap="square" rtlCol="0">
            <a:spAutoFit/>
          </a:bodyPr>
          <a:lstStyle/>
          <a:p>
            <a:r>
              <a:rPr lang="es-ES" sz="2000" b="1" dirty="0">
                <a:solidFill>
                  <a:schemeClr val="tx2"/>
                </a:solidFill>
                <a:cs typeface="Arial" pitchFamily="34" charset="0"/>
              </a:rPr>
              <a:t>1º</a:t>
            </a:r>
          </a:p>
        </p:txBody>
      </p:sp>
      <p:sp>
        <p:nvSpPr>
          <p:cNvPr id="10" name="9 CuadroTexto"/>
          <p:cNvSpPr txBox="1"/>
          <p:nvPr/>
        </p:nvSpPr>
        <p:spPr>
          <a:xfrm>
            <a:off x="1353715" y="1854969"/>
            <a:ext cx="1471220" cy="400110"/>
          </a:xfrm>
          <a:prstGeom prst="rect">
            <a:avLst/>
          </a:prstGeom>
          <a:noFill/>
        </p:spPr>
        <p:txBody>
          <a:bodyPr wrap="square" rtlCol="0">
            <a:spAutoFit/>
          </a:bodyPr>
          <a:lstStyle/>
          <a:p>
            <a:r>
              <a:rPr lang="es-ES" sz="2000" b="1" dirty="0" smtClean="0"/>
              <a:t>China</a:t>
            </a:r>
            <a:endParaRPr lang="es-ES" sz="2000" b="1" dirty="0"/>
          </a:p>
        </p:txBody>
      </p:sp>
      <p:sp>
        <p:nvSpPr>
          <p:cNvPr id="12" name="11 CuadroTexto"/>
          <p:cNvSpPr txBox="1"/>
          <p:nvPr/>
        </p:nvSpPr>
        <p:spPr>
          <a:xfrm>
            <a:off x="3572981" y="1870804"/>
            <a:ext cx="2416422" cy="400110"/>
          </a:xfrm>
          <a:prstGeom prst="rect">
            <a:avLst/>
          </a:prstGeom>
          <a:noFill/>
        </p:spPr>
        <p:txBody>
          <a:bodyPr wrap="square" rtlCol="0">
            <a:spAutoFit/>
          </a:bodyPr>
          <a:lstStyle/>
          <a:p>
            <a:r>
              <a:rPr lang="es-ES" sz="2000" b="1" dirty="0" smtClean="0"/>
              <a:t>Estados Unidos</a:t>
            </a:r>
            <a:endParaRPr lang="es-ES" sz="2000" b="1" dirty="0"/>
          </a:p>
        </p:txBody>
      </p:sp>
      <p:sp>
        <p:nvSpPr>
          <p:cNvPr id="13" name="2 CuadroTexto"/>
          <p:cNvSpPr txBox="1"/>
          <p:nvPr/>
        </p:nvSpPr>
        <p:spPr>
          <a:xfrm>
            <a:off x="1047930" y="1335767"/>
            <a:ext cx="1867886" cy="400110"/>
          </a:xfrm>
          <a:prstGeom prst="rect">
            <a:avLst/>
          </a:prstGeom>
          <a:no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00"/>
              </a:spcAft>
              <a:defRPr/>
            </a:pPr>
            <a:r>
              <a:rPr lang="es-PE" sz="2000" b="1" dirty="0" smtClean="0">
                <a:solidFill>
                  <a:schemeClr val="tx2"/>
                </a:solidFill>
                <a:effectLst>
                  <a:outerShdw blurRad="38100" dist="38100" dir="2700000" algn="tl">
                    <a:srgbClr val="000000">
                      <a:alpha val="43137"/>
                    </a:srgbClr>
                  </a:outerShdw>
                </a:effectLst>
                <a:cs typeface="Arial" pitchFamily="34" charset="0"/>
              </a:rPr>
              <a:t>Tradicional</a:t>
            </a:r>
            <a:endParaRPr lang="es-PE" sz="2000" b="1" dirty="0">
              <a:solidFill>
                <a:schemeClr val="tx2"/>
              </a:solidFill>
              <a:effectLst>
                <a:outerShdw blurRad="38100" dist="38100" dir="2700000" algn="tl">
                  <a:srgbClr val="000000">
                    <a:alpha val="43137"/>
                  </a:srgbClr>
                </a:outerShdw>
              </a:effectLst>
              <a:cs typeface="Arial" pitchFamily="34" charset="0"/>
            </a:endParaRPr>
          </a:p>
        </p:txBody>
      </p:sp>
      <p:sp>
        <p:nvSpPr>
          <p:cNvPr id="14" name="2 CuadroTexto"/>
          <p:cNvSpPr txBox="1"/>
          <p:nvPr/>
        </p:nvSpPr>
        <p:spPr>
          <a:xfrm>
            <a:off x="3419872" y="1383708"/>
            <a:ext cx="2520279" cy="400110"/>
          </a:xfrm>
          <a:prstGeom prst="rect">
            <a:avLst/>
          </a:prstGeom>
          <a:no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00"/>
              </a:spcAft>
              <a:defRPr/>
            </a:pPr>
            <a:r>
              <a:rPr lang="es-PE" sz="2000" b="1" dirty="0" smtClean="0">
                <a:solidFill>
                  <a:schemeClr val="tx2"/>
                </a:solidFill>
                <a:effectLst>
                  <a:outerShdw blurRad="38100" dist="38100" dir="2700000" algn="tl">
                    <a:srgbClr val="000000">
                      <a:alpha val="43137"/>
                    </a:srgbClr>
                  </a:outerShdw>
                </a:effectLst>
                <a:cs typeface="Arial" pitchFamily="34" charset="0"/>
              </a:rPr>
              <a:t>No Tradicional</a:t>
            </a:r>
            <a:endParaRPr lang="es-PE" sz="2000" b="1" dirty="0">
              <a:solidFill>
                <a:schemeClr val="tx2"/>
              </a:solidFill>
              <a:effectLst>
                <a:outerShdw blurRad="38100" dist="38100" dir="2700000" algn="tl">
                  <a:srgbClr val="000000">
                    <a:alpha val="43137"/>
                  </a:srgbClr>
                </a:outerShdw>
              </a:effectLst>
              <a:cs typeface="Arial" pitchFamily="34" charset="0"/>
            </a:endParaRPr>
          </a:p>
        </p:txBody>
      </p:sp>
      <p:cxnSp>
        <p:nvCxnSpPr>
          <p:cNvPr id="15" name="14 Conector recto"/>
          <p:cNvCxnSpPr/>
          <p:nvPr/>
        </p:nvCxnSpPr>
        <p:spPr>
          <a:xfrm>
            <a:off x="3171098" y="1366657"/>
            <a:ext cx="0" cy="5166184"/>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17 Conector recto"/>
          <p:cNvCxnSpPr/>
          <p:nvPr/>
        </p:nvCxnSpPr>
        <p:spPr>
          <a:xfrm>
            <a:off x="6149531" y="1335766"/>
            <a:ext cx="0" cy="5059296"/>
          </a:xfrm>
          <a:prstGeom prst="line">
            <a:avLst/>
          </a:prstGeom>
        </p:spPr>
        <p:style>
          <a:lnRef idx="1">
            <a:schemeClr val="accent1"/>
          </a:lnRef>
          <a:fillRef idx="0">
            <a:schemeClr val="accent1"/>
          </a:fillRef>
          <a:effectRef idx="0">
            <a:schemeClr val="accent1"/>
          </a:effectRef>
          <a:fontRef idx="minor">
            <a:schemeClr val="tx1"/>
          </a:fontRef>
        </p:style>
      </p:cxnSp>
      <p:sp>
        <p:nvSpPr>
          <p:cNvPr id="19" name="2 CuadroTexto"/>
          <p:cNvSpPr txBox="1"/>
          <p:nvPr/>
        </p:nvSpPr>
        <p:spPr>
          <a:xfrm>
            <a:off x="6896901" y="1342974"/>
            <a:ext cx="1120775" cy="400110"/>
          </a:xfrm>
          <a:prstGeom prst="rect">
            <a:avLst/>
          </a:prstGeom>
          <a:no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00"/>
              </a:spcAft>
              <a:defRPr/>
            </a:pPr>
            <a:r>
              <a:rPr lang="es-PE" sz="2000" b="1" dirty="0" smtClean="0">
                <a:solidFill>
                  <a:schemeClr val="tx2"/>
                </a:solidFill>
                <a:effectLst>
                  <a:outerShdw blurRad="38100" dist="38100" dir="2700000" algn="tl">
                    <a:srgbClr val="000000">
                      <a:alpha val="43137"/>
                    </a:srgbClr>
                  </a:outerShdw>
                </a:effectLst>
                <a:cs typeface="Arial" pitchFamily="34" charset="0"/>
              </a:rPr>
              <a:t>Total</a:t>
            </a:r>
            <a:endParaRPr lang="es-PE" sz="2000" b="1" dirty="0">
              <a:solidFill>
                <a:schemeClr val="tx2"/>
              </a:solidFill>
              <a:effectLst>
                <a:outerShdw blurRad="38100" dist="38100" dir="2700000" algn="tl">
                  <a:srgbClr val="000000">
                    <a:alpha val="43137"/>
                  </a:srgbClr>
                </a:outerShdw>
              </a:effectLst>
              <a:cs typeface="Arial" pitchFamily="34" charset="0"/>
            </a:endParaRPr>
          </a:p>
        </p:txBody>
      </p:sp>
      <p:sp>
        <p:nvSpPr>
          <p:cNvPr id="20" name="19 CuadroTexto"/>
          <p:cNvSpPr txBox="1"/>
          <p:nvPr/>
        </p:nvSpPr>
        <p:spPr>
          <a:xfrm>
            <a:off x="6676896" y="2738515"/>
            <a:ext cx="1541795" cy="400110"/>
          </a:xfrm>
          <a:prstGeom prst="rect">
            <a:avLst/>
          </a:prstGeom>
          <a:noFill/>
        </p:spPr>
        <p:txBody>
          <a:bodyPr wrap="square" rtlCol="0">
            <a:spAutoFit/>
          </a:bodyPr>
          <a:lstStyle/>
          <a:p>
            <a:pPr algn="ctr"/>
            <a:r>
              <a:rPr lang="es-ES" sz="2000" b="1" dirty="0" smtClean="0"/>
              <a:t>China</a:t>
            </a:r>
            <a:endParaRPr lang="es-ES" sz="2000" b="1" dirty="0"/>
          </a:p>
        </p:txBody>
      </p:sp>
      <p:sp>
        <p:nvSpPr>
          <p:cNvPr id="17" name="16 CuadroTexto"/>
          <p:cNvSpPr txBox="1"/>
          <p:nvPr/>
        </p:nvSpPr>
        <p:spPr>
          <a:xfrm>
            <a:off x="1043608" y="2204864"/>
            <a:ext cx="2180918" cy="369332"/>
          </a:xfrm>
          <a:prstGeom prst="rect">
            <a:avLst/>
          </a:prstGeom>
          <a:noFill/>
        </p:spPr>
        <p:txBody>
          <a:bodyPr wrap="none" rtlCol="0">
            <a:spAutoFit/>
          </a:bodyPr>
          <a:lstStyle/>
          <a:p>
            <a:r>
              <a:rPr lang="es-ES" dirty="0" smtClean="0"/>
              <a:t>US$ 4,306 / -11.0%</a:t>
            </a:r>
            <a:endParaRPr lang="es-ES" dirty="0"/>
          </a:p>
        </p:txBody>
      </p:sp>
      <p:sp>
        <p:nvSpPr>
          <p:cNvPr id="22" name="21 CuadroTexto"/>
          <p:cNvSpPr txBox="1"/>
          <p:nvPr/>
        </p:nvSpPr>
        <p:spPr>
          <a:xfrm>
            <a:off x="3779912" y="2276872"/>
            <a:ext cx="1988558" cy="369332"/>
          </a:xfrm>
          <a:prstGeom prst="rect">
            <a:avLst/>
          </a:prstGeom>
          <a:noFill/>
        </p:spPr>
        <p:txBody>
          <a:bodyPr wrap="none" rtlCol="0">
            <a:spAutoFit/>
          </a:bodyPr>
          <a:lstStyle/>
          <a:p>
            <a:r>
              <a:rPr lang="es-ES" dirty="0" smtClean="0"/>
              <a:t>US$ 1,611/ -1.6%</a:t>
            </a:r>
            <a:endParaRPr lang="es-ES" dirty="0"/>
          </a:p>
        </p:txBody>
      </p:sp>
      <p:sp>
        <p:nvSpPr>
          <p:cNvPr id="23" name="22 CuadroTexto"/>
          <p:cNvSpPr txBox="1"/>
          <p:nvPr/>
        </p:nvSpPr>
        <p:spPr>
          <a:xfrm>
            <a:off x="6588224" y="2204864"/>
            <a:ext cx="2191626" cy="369332"/>
          </a:xfrm>
          <a:prstGeom prst="rect">
            <a:avLst/>
          </a:prstGeom>
          <a:noFill/>
        </p:spPr>
        <p:txBody>
          <a:bodyPr wrap="none" rtlCol="0">
            <a:spAutoFit/>
          </a:bodyPr>
          <a:lstStyle/>
          <a:p>
            <a:r>
              <a:rPr lang="es-ES" dirty="0" smtClean="0"/>
              <a:t>US$ 4,797/ +20.3%</a:t>
            </a:r>
            <a:endParaRPr lang="es-ES" dirty="0"/>
          </a:p>
        </p:txBody>
      </p:sp>
      <p:sp>
        <p:nvSpPr>
          <p:cNvPr id="26" name="25 CuadroTexto"/>
          <p:cNvSpPr txBox="1"/>
          <p:nvPr/>
        </p:nvSpPr>
        <p:spPr>
          <a:xfrm>
            <a:off x="258457" y="2812866"/>
            <a:ext cx="908433" cy="400110"/>
          </a:xfrm>
          <a:prstGeom prst="rect">
            <a:avLst/>
          </a:prstGeom>
          <a:noFill/>
        </p:spPr>
        <p:txBody>
          <a:bodyPr wrap="square" rtlCol="0">
            <a:spAutoFit/>
          </a:bodyPr>
          <a:lstStyle/>
          <a:p>
            <a:r>
              <a:rPr lang="es-ES" sz="2000" b="1" dirty="0" smtClean="0">
                <a:solidFill>
                  <a:schemeClr val="tx2"/>
                </a:solidFill>
                <a:cs typeface="Arial" pitchFamily="34" charset="0"/>
              </a:rPr>
              <a:t>2º</a:t>
            </a:r>
            <a:endParaRPr lang="es-ES" sz="2000" b="1" dirty="0">
              <a:solidFill>
                <a:schemeClr val="tx2"/>
              </a:solidFill>
              <a:cs typeface="Arial" pitchFamily="34" charset="0"/>
            </a:endParaRPr>
          </a:p>
        </p:txBody>
      </p:sp>
      <p:sp>
        <p:nvSpPr>
          <p:cNvPr id="28" name="27 CuadroTexto"/>
          <p:cNvSpPr txBox="1"/>
          <p:nvPr/>
        </p:nvSpPr>
        <p:spPr>
          <a:xfrm>
            <a:off x="971600" y="3140968"/>
            <a:ext cx="2255746" cy="369332"/>
          </a:xfrm>
          <a:prstGeom prst="rect">
            <a:avLst/>
          </a:prstGeom>
          <a:noFill/>
        </p:spPr>
        <p:txBody>
          <a:bodyPr wrap="none" rtlCol="0">
            <a:spAutoFit/>
          </a:bodyPr>
          <a:lstStyle/>
          <a:p>
            <a:r>
              <a:rPr lang="es-ES" dirty="0" smtClean="0"/>
              <a:t>US$ 3,186 / +35.5%</a:t>
            </a:r>
            <a:endParaRPr lang="es-ES" dirty="0"/>
          </a:p>
        </p:txBody>
      </p:sp>
      <p:sp>
        <p:nvSpPr>
          <p:cNvPr id="30" name="29 CuadroTexto"/>
          <p:cNvSpPr txBox="1"/>
          <p:nvPr/>
        </p:nvSpPr>
        <p:spPr>
          <a:xfrm>
            <a:off x="3851920" y="3140968"/>
            <a:ext cx="1871025" cy="369332"/>
          </a:xfrm>
          <a:prstGeom prst="rect">
            <a:avLst/>
          </a:prstGeom>
          <a:noFill/>
        </p:spPr>
        <p:txBody>
          <a:bodyPr wrap="none" rtlCol="0">
            <a:spAutoFit/>
          </a:bodyPr>
          <a:lstStyle/>
          <a:p>
            <a:r>
              <a:rPr lang="es-ES" dirty="0" smtClean="0"/>
              <a:t>US$ 482/ +4.6%</a:t>
            </a:r>
            <a:endParaRPr lang="es-ES" dirty="0"/>
          </a:p>
        </p:txBody>
      </p:sp>
      <p:sp>
        <p:nvSpPr>
          <p:cNvPr id="31" name="30 CuadroTexto"/>
          <p:cNvSpPr txBox="1"/>
          <p:nvPr/>
        </p:nvSpPr>
        <p:spPr>
          <a:xfrm>
            <a:off x="6364891" y="1861738"/>
            <a:ext cx="2362781" cy="400110"/>
          </a:xfrm>
          <a:prstGeom prst="rect">
            <a:avLst/>
          </a:prstGeom>
          <a:noFill/>
        </p:spPr>
        <p:txBody>
          <a:bodyPr wrap="square" rtlCol="0">
            <a:spAutoFit/>
          </a:bodyPr>
          <a:lstStyle/>
          <a:p>
            <a:r>
              <a:rPr lang="es-ES" sz="2000" b="1" dirty="0" smtClean="0"/>
              <a:t>Estados Unidos</a:t>
            </a:r>
            <a:endParaRPr lang="es-ES" sz="2000" b="1" dirty="0"/>
          </a:p>
        </p:txBody>
      </p:sp>
      <p:sp>
        <p:nvSpPr>
          <p:cNvPr id="32" name="31 CuadroTexto"/>
          <p:cNvSpPr txBox="1"/>
          <p:nvPr/>
        </p:nvSpPr>
        <p:spPr>
          <a:xfrm>
            <a:off x="6588224" y="3140968"/>
            <a:ext cx="2005677" cy="369332"/>
          </a:xfrm>
          <a:prstGeom prst="rect">
            <a:avLst/>
          </a:prstGeom>
          <a:noFill/>
        </p:spPr>
        <p:txBody>
          <a:bodyPr wrap="none" rtlCol="0">
            <a:spAutoFit/>
          </a:bodyPr>
          <a:lstStyle/>
          <a:p>
            <a:r>
              <a:rPr lang="es-ES" dirty="0" smtClean="0"/>
              <a:t>US$ 4,547/ -9.9%</a:t>
            </a:r>
            <a:endParaRPr lang="es-ES" dirty="0"/>
          </a:p>
        </p:txBody>
      </p:sp>
      <p:sp>
        <p:nvSpPr>
          <p:cNvPr id="33" name="32 CuadroTexto"/>
          <p:cNvSpPr txBox="1"/>
          <p:nvPr/>
        </p:nvSpPr>
        <p:spPr>
          <a:xfrm>
            <a:off x="150570" y="6534836"/>
            <a:ext cx="2621230" cy="323165"/>
          </a:xfrm>
          <a:prstGeom prst="rect">
            <a:avLst/>
          </a:prstGeom>
          <a:noFill/>
        </p:spPr>
        <p:txBody>
          <a:bodyPr wrap="none" rtlCol="0">
            <a:spAutoFit/>
          </a:bodyPr>
          <a:lstStyle/>
          <a:p>
            <a:r>
              <a:rPr lang="es-ES" sz="1500" b="1" dirty="0" smtClean="0"/>
              <a:t>*Cifras en millones de US$</a:t>
            </a:r>
          </a:p>
        </p:txBody>
      </p:sp>
      <p:sp>
        <p:nvSpPr>
          <p:cNvPr id="36" name="35 CuadroTexto"/>
          <p:cNvSpPr txBox="1"/>
          <p:nvPr/>
        </p:nvSpPr>
        <p:spPr>
          <a:xfrm>
            <a:off x="249591" y="3748970"/>
            <a:ext cx="641042" cy="400110"/>
          </a:xfrm>
          <a:prstGeom prst="rect">
            <a:avLst/>
          </a:prstGeom>
          <a:noFill/>
        </p:spPr>
        <p:txBody>
          <a:bodyPr wrap="square" rtlCol="0">
            <a:spAutoFit/>
          </a:bodyPr>
          <a:lstStyle/>
          <a:p>
            <a:r>
              <a:rPr lang="es-ES" sz="2000" b="1" dirty="0">
                <a:solidFill>
                  <a:schemeClr val="tx2"/>
                </a:solidFill>
                <a:cs typeface="Arial" pitchFamily="34" charset="0"/>
              </a:rPr>
              <a:t>3</a:t>
            </a:r>
            <a:r>
              <a:rPr lang="es-ES" sz="2000" b="1" dirty="0" smtClean="0">
                <a:solidFill>
                  <a:schemeClr val="tx2"/>
                </a:solidFill>
                <a:cs typeface="Arial" pitchFamily="34" charset="0"/>
              </a:rPr>
              <a:t>º</a:t>
            </a:r>
            <a:endParaRPr lang="es-ES" sz="2000" b="1" dirty="0">
              <a:solidFill>
                <a:schemeClr val="tx2"/>
              </a:solidFill>
              <a:cs typeface="Arial" pitchFamily="34" charset="0"/>
            </a:endParaRPr>
          </a:p>
        </p:txBody>
      </p:sp>
      <p:sp>
        <p:nvSpPr>
          <p:cNvPr id="42" name="41 CuadroTexto"/>
          <p:cNvSpPr txBox="1"/>
          <p:nvPr/>
        </p:nvSpPr>
        <p:spPr>
          <a:xfrm>
            <a:off x="899592" y="4077072"/>
            <a:ext cx="2116798" cy="369332"/>
          </a:xfrm>
          <a:prstGeom prst="rect">
            <a:avLst/>
          </a:prstGeom>
          <a:noFill/>
        </p:spPr>
        <p:txBody>
          <a:bodyPr wrap="none" rtlCol="0">
            <a:spAutoFit/>
          </a:bodyPr>
          <a:lstStyle/>
          <a:p>
            <a:r>
              <a:rPr lang="es-ES" dirty="0" smtClean="0"/>
              <a:t>US$ 2,117/ -39.6%</a:t>
            </a:r>
            <a:endParaRPr lang="es-ES" dirty="0"/>
          </a:p>
        </p:txBody>
      </p:sp>
      <p:sp>
        <p:nvSpPr>
          <p:cNvPr id="43" name="42 CuadroTexto"/>
          <p:cNvSpPr txBox="1"/>
          <p:nvPr/>
        </p:nvSpPr>
        <p:spPr>
          <a:xfrm>
            <a:off x="3171299" y="5529021"/>
            <a:ext cx="2998547" cy="400110"/>
          </a:xfrm>
          <a:prstGeom prst="rect">
            <a:avLst/>
          </a:prstGeom>
          <a:noFill/>
        </p:spPr>
        <p:txBody>
          <a:bodyPr wrap="square" rtlCol="0">
            <a:spAutoFit/>
          </a:bodyPr>
          <a:lstStyle/>
          <a:p>
            <a:pPr algn="ctr"/>
            <a:r>
              <a:rPr lang="es-ES" sz="2000" b="1" dirty="0" smtClean="0"/>
              <a:t>Colombia</a:t>
            </a:r>
            <a:endParaRPr lang="es-ES" sz="2000" b="1" dirty="0"/>
          </a:p>
        </p:txBody>
      </p:sp>
      <p:sp>
        <p:nvSpPr>
          <p:cNvPr id="44" name="43 CuadroTexto"/>
          <p:cNvSpPr txBox="1"/>
          <p:nvPr/>
        </p:nvSpPr>
        <p:spPr>
          <a:xfrm>
            <a:off x="3923928" y="4077072"/>
            <a:ext cx="1813317" cy="369332"/>
          </a:xfrm>
          <a:prstGeom prst="rect">
            <a:avLst/>
          </a:prstGeom>
          <a:noFill/>
        </p:spPr>
        <p:txBody>
          <a:bodyPr wrap="none" rtlCol="0">
            <a:spAutoFit/>
          </a:bodyPr>
          <a:lstStyle/>
          <a:p>
            <a:r>
              <a:rPr lang="es-ES" dirty="0" smtClean="0"/>
              <a:t>US$ 475/ -1.7%</a:t>
            </a:r>
            <a:endParaRPr lang="es-ES" dirty="0"/>
          </a:p>
        </p:txBody>
      </p:sp>
      <p:sp>
        <p:nvSpPr>
          <p:cNvPr id="45" name="44 CuadroTexto"/>
          <p:cNvSpPr txBox="1"/>
          <p:nvPr/>
        </p:nvSpPr>
        <p:spPr>
          <a:xfrm>
            <a:off x="6974580" y="3676916"/>
            <a:ext cx="1014019" cy="400110"/>
          </a:xfrm>
          <a:prstGeom prst="rect">
            <a:avLst/>
          </a:prstGeom>
          <a:noFill/>
        </p:spPr>
        <p:txBody>
          <a:bodyPr wrap="square" rtlCol="0">
            <a:spAutoFit/>
          </a:bodyPr>
          <a:lstStyle/>
          <a:p>
            <a:r>
              <a:rPr lang="es-ES" sz="2000" b="1" dirty="0" smtClean="0"/>
              <a:t>Suiza</a:t>
            </a:r>
            <a:endParaRPr lang="es-ES" sz="2000" b="1" dirty="0"/>
          </a:p>
        </p:txBody>
      </p:sp>
      <p:sp>
        <p:nvSpPr>
          <p:cNvPr id="46" name="45 CuadroTexto"/>
          <p:cNvSpPr txBox="1"/>
          <p:nvPr/>
        </p:nvSpPr>
        <p:spPr>
          <a:xfrm>
            <a:off x="6516216" y="4077072"/>
            <a:ext cx="2133918" cy="369332"/>
          </a:xfrm>
          <a:prstGeom prst="rect">
            <a:avLst/>
          </a:prstGeom>
          <a:noFill/>
        </p:spPr>
        <p:txBody>
          <a:bodyPr wrap="none" rtlCol="0">
            <a:spAutoFit/>
          </a:bodyPr>
          <a:lstStyle/>
          <a:p>
            <a:r>
              <a:rPr lang="es-ES" dirty="0" smtClean="0"/>
              <a:t>US$ 2,123/ -39.9%</a:t>
            </a:r>
            <a:endParaRPr lang="es-ES" dirty="0"/>
          </a:p>
        </p:txBody>
      </p:sp>
      <p:sp>
        <p:nvSpPr>
          <p:cNvPr id="48" name="47 CuadroTexto"/>
          <p:cNvSpPr txBox="1"/>
          <p:nvPr/>
        </p:nvSpPr>
        <p:spPr>
          <a:xfrm>
            <a:off x="237963" y="4757082"/>
            <a:ext cx="641042" cy="400110"/>
          </a:xfrm>
          <a:prstGeom prst="rect">
            <a:avLst/>
          </a:prstGeom>
          <a:noFill/>
        </p:spPr>
        <p:txBody>
          <a:bodyPr wrap="square" rtlCol="0">
            <a:spAutoFit/>
          </a:bodyPr>
          <a:lstStyle/>
          <a:p>
            <a:r>
              <a:rPr lang="es-ES" sz="2000" b="1" dirty="0" smtClean="0">
                <a:solidFill>
                  <a:schemeClr val="tx2"/>
                </a:solidFill>
                <a:cs typeface="Arial" pitchFamily="34" charset="0"/>
              </a:rPr>
              <a:t>4º</a:t>
            </a:r>
            <a:endParaRPr lang="es-ES" sz="2000" b="1" dirty="0">
              <a:solidFill>
                <a:schemeClr val="tx2"/>
              </a:solidFill>
              <a:cs typeface="Arial" pitchFamily="34" charset="0"/>
            </a:endParaRPr>
          </a:p>
        </p:txBody>
      </p:sp>
      <p:sp>
        <p:nvSpPr>
          <p:cNvPr id="49" name="48 CuadroTexto"/>
          <p:cNvSpPr txBox="1"/>
          <p:nvPr/>
        </p:nvSpPr>
        <p:spPr>
          <a:xfrm>
            <a:off x="220149" y="5621178"/>
            <a:ext cx="641042" cy="400110"/>
          </a:xfrm>
          <a:prstGeom prst="rect">
            <a:avLst/>
          </a:prstGeom>
          <a:noFill/>
        </p:spPr>
        <p:txBody>
          <a:bodyPr wrap="square" rtlCol="0">
            <a:spAutoFit/>
          </a:bodyPr>
          <a:lstStyle/>
          <a:p>
            <a:r>
              <a:rPr lang="es-ES" sz="2000" b="1" dirty="0" smtClean="0">
                <a:solidFill>
                  <a:schemeClr val="tx2"/>
                </a:solidFill>
                <a:cs typeface="Arial" pitchFamily="34" charset="0"/>
              </a:rPr>
              <a:t>5º</a:t>
            </a:r>
            <a:endParaRPr lang="es-ES" sz="2000" b="1" dirty="0">
              <a:solidFill>
                <a:schemeClr val="tx2"/>
              </a:solidFill>
              <a:cs typeface="Arial" pitchFamily="34" charset="0"/>
            </a:endParaRPr>
          </a:p>
        </p:txBody>
      </p:sp>
      <p:sp>
        <p:nvSpPr>
          <p:cNvPr id="52" name="51 CuadroTexto"/>
          <p:cNvSpPr txBox="1"/>
          <p:nvPr/>
        </p:nvSpPr>
        <p:spPr>
          <a:xfrm>
            <a:off x="1200032" y="4737993"/>
            <a:ext cx="1309017" cy="400110"/>
          </a:xfrm>
          <a:prstGeom prst="rect">
            <a:avLst/>
          </a:prstGeom>
          <a:noFill/>
        </p:spPr>
        <p:txBody>
          <a:bodyPr wrap="square" rtlCol="0">
            <a:spAutoFit/>
          </a:bodyPr>
          <a:lstStyle/>
          <a:p>
            <a:r>
              <a:rPr lang="es-ES" sz="2000" b="1" dirty="0" smtClean="0"/>
              <a:t>Canadá</a:t>
            </a:r>
            <a:endParaRPr lang="es-ES" sz="2000" b="1" dirty="0"/>
          </a:p>
        </p:txBody>
      </p:sp>
      <p:sp>
        <p:nvSpPr>
          <p:cNvPr id="53" name="52 CuadroTexto"/>
          <p:cNvSpPr txBox="1"/>
          <p:nvPr/>
        </p:nvSpPr>
        <p:spPr>
          <a:xfrm>
            <a:off x="1043608" y="5085184"/>
            <a:ext cx="2133918" cy="369332"/>
          </a:xfrm>
          <a:prstGeom prst="rect">
            <a:avLst/>
          </a:prstGeom>
          <a:noFill/>
        </p:spPr>
        <p:txBody>
          <a:bodyPr wrap="none" rtlCol="0">
            <a:spAutoFit/>
          </a:bodyPr>
          <a:lstStyle/>
          <a:p>
            <a:r>
              <a:rPr lang="es-ES" dirty="0" smtClean="0"/>
              <a:t>US$ 1,700/ -23.6%</a:t>
            </a:r>
            <a:endParaRPr lang="es-ES" dirty="0"/>
          </a:p>
        </p:txBody>
      </p:sp>
      <p:sp>
        <p:nvSpPr>
          <p:cNvPr id="54" name="53 CuadroTexto"/>
          <p:cNvSpPr txBox="1"/>
          <p:nvPr/>
        </p:nvSpPr>
        <p:spPr>
          <a:xfrm>
            <a:off x="1281924" y="5656398"/>
            <a:ext cx="1193983" cy="400110"/>
          </a:xfrm>
          <a:prstGeom prst="rect">
            <a:avLst/>
          </a:prstGeom>
          <a:noFill/>
        </p:spPr>
        <p:txBody>
          <a:bodyPr wrap="square" rtlCol="0">
            <a:spAutoFit/>
          </a:bodyPr>
          <a:lstStyle/>
          <a:p>
            <a:r>
              <a:rPr lang="es-ES" sz="2000" b="1" dirty="0" smtClean="0"/>
              <a:t>Japón</a:t>
            </a:r>
            <a:endParaRPr lang="es-ES" sz="2000" b="1" dirty="0"/>
          </a:p>
        </p:txBody>
      </p:sp>
      <p:sp>
        <p:nvSpPr>
          <p:cNvPr id="55" name="54 CuadroTexto"/>
          <p:cNvSpPr txBox="1"/>
          <p:nvPr/>
        </p:nvSpPr>
        <p:spPr>
          <a:xfrm>
            <a:off x="899592" y="5949280"/>
            <a:ext cx="2133918" cy="369332"/>
          </a:xfrm>
          <a:prstGeom prst="rect">
            <a:avLst/>
          </a:prstGeom>
          <a:noFill/>
        </p:spPr>
        <p:txBody>
          <a:bodyPr wrap="none" rtlCol="0">
            <a:spAutoFit/>
          </a:bodyPr>
          <a:lstStyle/>
          <a:p>
            <a:r>
              <a:rPr lang="es-ES" dirty="0" smtClean="0"/>
              <a:t>US$ 1,374/ -15.1%</a:t>
            </a:r>
            <a:endParaRPr lang="es-ES" dirty="0"/>
          </a:p>
        </p:txBody>
      </p:sp>
      <p:sp>
        <p:nvSpPr>
          <p:cNvPr id="56" name="55 CuadroTexto"/>
          <p:cNvSpPr txBox="1"/>
          <p:nvPr/>
        </p:nvSpPr>
        <p:spPr>
          <a:xfrm>
            <a:off x="3185143" y="3676917"/>
            <a:ext cx="2998547" cy="400110"/>
          </a:xfrm>
          <a:prstGeom prst="rect">
            <a:avLst/>
          </a:prstGeom>
          <a:noFill/>
        </p:spPr>
        <p:txBody>
          <a:bodyPr wrap="square" rtlCol="0">
            <a:spAutoFit/>
          </a:bodyPr>
          <a:lstStyle/>
          <a:p>
            <a:pPr algn="ctr"/>
            <a:r>
              <a:rPr lang="es-ES" sz="2000" b="1" dirty="0" smtClean="0"/>
              <a:t>Ecuador</a:t>
            </a:r>
            <a:endParaRPr lang="es-ES" sz="2000" b="1" dirty="0"/>
          </a:p>
        </p:txBody>
      </p:sp>
      <p:sp>
        <p:nvSpPr>
          <p:cNvPr id="57" name="56 CuadroTexto"/>
          <p:cNvSpPr txBox="1"/>
          <p:nvPr/>
        </p:nvSpPr>
        <p:spPr>
          <a:xfrm>
            <a:off x="3160463" y="2735230"/>
            <a:ext cx="2998547" cy="400110"/>
          </a:xfrm>
          <a:prstGeom prst="rect">
            <a:avLst/>
          </a:prstGeom>
          <a:noFill/>
        </p:spPr>
        <p:txBody>
          <a:bodyPr wrap="square" rtlCol="0">
            <a:spAutoFit/>
          </a:bodyPr>
          <a:lstStyle/>
          <a:p>
            <a:pPr algn="ctr"/>
            <a:r>
              <a:rPr lang="es-ES" sz="2000" b="1" dirty="0" smtClean="0"/>
              <a:t>Chile</a:t>
            </a:r>
            <a:endParaRPr lang="es-ES" sz="2000" b="1" dirty="0"/>
          </a:p>
        </p:txBody>
      </p:sp>
      <p:sp>
        <p:nvSpPr>
          <p:cNvPr id="59" name="58 CuadroTexto"/>
          <p:cNvSpPr txBox="1"/>
          <p:nvPr/>
        </p:nvSpPr>
        <p:spPr>
          <a:xfrm>
            <a:off x="3851920" y="5013176"/>
            <a:ext cx="1941557" cy="369332"/>
          </a:xfrm>
          <a:prstGeom prst="rect">
            <a:avLst/>
          </a:prstGeom>
          <a:noFill/>
        </p:spPr>
        <p:txBody>
          <a:bodyPr wrap="none" rtlCol="0">
            <a:spAutoFit/>
          </a:bodyPr>
          <a:lstStyle/>
          <a:p>
            <a:r>
              <a:rPr lang="es-ES" dirty="0" smtClean="0"/>
              <a:t>US$ 447/ -43.9%</a:t>
            </a:r>
            <a:endParaRPr lang="es-ES" dirty="0"/>
          </a:p>
        </p:txBody>
      </p:sp>
      <p:sp>
        <p:nvSpPr>
          <p:cNvPr id="60" name="59 CuadroTexto"/>
          <p:cNvSpPr txBox="1"/>
          <p:nvPr/>
        </p:nvSpPr>
        <p:spPr>
          <a:xfrm>
            <a:off x="3923928" y="5949280"/>
            <a:ext cx="1924438" cy="369332"/>
          </a:xfrm>
          <a:prstGeom prst="rect">
            <a:avLst/>
          </a:prstGeom>
          <a:noFill/>
        </p:spPr>
        <p:txBody>
          <a:bodyPr wrap="none" rtlCol="0">
            <a:spAutoFit/>
          </a:bodyPr>
          <a:lstStyle/>
          <a:p>
            <a:r>
              <a:rPr lang="es-ES" dirty="0" smtClean="0"/>
              <a:t>US$ 447/ -11.4%</a:t>
            </a:r>
            <a:endParaRPr lang="es-ES" dirty="0"/>
          </a:p>
        </p:txBody>
      </p:sp>
      <p:sp>
        <p:nvSpPr>
          <p:cNvPr id="61" name="60 CuadroTexto"/>
          <p:cNvSpPr txBox="1"/>
          <p:nvPr/>
        </p:nvSpPr>
        <p:spPr>
          <a:xfrm>
            <a:off x="6802780" y="4679710"/>
            <a:ext cx="1309017" cy="400110"/>
          </a:xfrm>
          <a:prstGeom prst="rect">
            <a:avLst/>
          </a:prstGeom>
          <a:noFill/>
        </p:spPr>
        <p:txBody>
          <a:bodyPr wrap="square" rtlCol="0">
            <a:spAutoFit/>
          </a:bodyPr>
          <a:lstStyle/>
          <a:p>
            <a:r>
              <a:rPr lang="es-ES" sz="2000" b="1" dirty="0" smtClean="0"/>
              <a:t>Canadá</a:t>
            </a:r>
            <a:endParaRPr lang="es-ES" sz="2000" b="1" dirty="0"/>
          </a:p>
        </p:txBody>
      </p:sp>
      <p:sp>
        <p:nvSpPr>
          <p:cNvPr id="62" name="61 CuadroTexto"/>
          <p:cNvSpPr txBox="1"/>
          <p:nvPr/>
        </p:nvSpPr>
        <p:spPr>
          <a:xfrm>
            <a:off x="6516216" y="5013176"/>
            <a:ext cx="2198038" cy="369332"/>
          </a:xfrm>
          <a:prstGeom prst="rect">
            <a:avLst/>
          </a:prstGeom>
          <a:noFill/>
        </p:spPr>
        <p:txBody>
          <a:bodyPr wrap="none" rtlCol="0">
            <a:spAutoFit/>
          </a:bodyPr>
          <a:lstStyle/>
          <a:p>
            <a:r>
              <a:rPr lang="es-ES" dirty="0" smtClean="0"/>
              <a:t>US$ 1,779 / -22.4%</a:t>
            </a:r>
            <a:endParaRPr lang="es-ES" dirty="0"/>
          </a:p>
        </p:txBody>
      </p:sp>
      <p:sp>
        <p:nvSpPr>
          <p:cNvPr id="63" name="62 CuadroTexto"/>
          <p:cNvSpPr txBox="1"/>
          <p:nvPr/>
        </p:nvSpPr>
        <p:spPr>
          <a:xfrm>
            <a:off x="6516216" y="5949280"/>
            <a:ext cx="2198038" cy="369332"/>
          </a:xfrm>
          <a:prstGeom prst="rect">
            <a:avLst/>
          </a:prstGeom>
          <a:noFill/>
        </p:spPr>
        <p:txBody>
          <a:bodyPr wrap="none" rtlCol="0">
            <a:spAutoFit/>
          </a:bodyPr>
          <a:lstStyle/>
          <a:p>
            <a:r>
              <a:rPr lang="es-ES" dirty="0" smtClean="0"/>
              <a:t>US$ 1,462 / -14.2%</a:t>
            </a:r>
            <a:endParaRPr lang="es-ES" dirty="0"/>
          </a:p>
        </p:txBody>
      </p:sp>
      <p:sp>
        <p:nvSpPr>
          <p:cNvPr id="64" name="63 CuadroTexto"/>
          <p:cNvSpPr txBox="1"/>
          <p:nvPr/>
        </p:nvSpPr>
        <p:spPr>
          <a:xfrm>
            <a:off x="6904435" y="5627058"/>
            <a:ext cx="982265" cy="400110"/>
          </a:xfrm>
          <a:prstGeom prst="rect">
            <a:avLst/>
          </a:prstGeom>
          <a:noFill/>
        </p:spPr>
        <p:txBody>
          <a:bodyPr wrap="square" rtlCol="0">
            <a:spAutoFit/>
          </a:bodyPr>
          <a:lstStyle/>
          <a:p>
            <a:r>
              <a:rPr lang="es-ES" sz="2000" b="1" dirty="0" smtClean="0"/>
              <a:t>Japón</a:t>
            </a:r>
            <a:endParaRPr lang="es-ES" sz="2000" b="1" dirty="0"/>
          </a:p>
        </p:txBody>
      </p:sp>
      <p:sp>
        <p:nvSpPr>
          <p:cNvPr id="47" name="46 CuadroTexto"/>
          <p:cNvSpPr txBox="1"/>
          <p:nvPr/>
        </p:nvSpPr>
        <p:spPr>
          <a:xfrm>
            <a:off x="854220" y="2772456"/>
            <a:ext cx="2306243" cy="400110"/>
          </a:xfrm>
          <a:prstGeom prst="rect">
            <a:avLst/>
          </a:prstGeom>
          <a:noFill/>
        </p:spPr>
        <p:txBody>
          <a:bodyPr wrap="square" rtlCol="0">
            <a:spAutoFit/>
          </a:bodyPr>
          <a:lstStyle/>
          <a:p>
            <a:pPr algn="ctr"/>
            <a:r>
              <a:rPr lang="es-ES" sz="2000" b="1" dirty="0" smtClean="0"/>
              <a:t>Estados Unidos</a:t>
            </a:r>
            <a:endParaRPr lang="es-ES" sz="2000" b="1" dirty="0"/>
          </a:p>
        </p:txBody>
      </p:sp>
      <p:sp>
        <p:nvSpPr>
          <p:cNvPr id="50" name="49 CuadroTexto"/>
          <p:cNvSpPr txBox="1"/>
          <p:nvPr/>
        </p:nvSpPr>
        <p:spPr>
          <a:xfrm>
            <a:off x="1347531" y="3707130"/>
            <a:ext cx="1014019" cy="400110"/>
          </a:xfrm>
          <a:prstGeom prst="rect">
            <a:avLst/>
          </a:prstGeom>
          <a:noFill/>
        </p:spPr>
        <p:txBody>
          <a:bodyPr wrap="square" rtlCol="0">
            <a:spAutoFit/>
          </a:bodyPr>
          <a:lstStyle/>
          <a:p>
            <a:r>
              <a:rPr lang="es-ES" sz="2000" b="1" dirty="0" smtClean="0"/>
              <a:t>Suiza</a:t>
            </a:r>
            <a:endParaRPr lang="es-ES" sz="2000" b="1" dirty="0"/>
          </a:p>
        </p:txBody>
      </p:sp>
      <p:sp>
        <p:nvSpPr>
          <p:cNvPr id="51" name="50 CuadroTexto"/>
          <p:cNvSpPr txBox="1"/>
          <p:nvPr/>
        </p:nvSpPr>
        <p:spPr>
          <a:xfrm>
            <a:off x="3185143" y="4694798"/>
            <a:ext cx="2998547" cy="400110"/>
          </a:xfrm>
          <a:prstGeom prst="rect">
            <a:avLst/>
          </a:prstGeom>
          <a:noFill/>
        </p:spPr>
        <p:txBody>
          <a:bodyPr wrap="square" rtlCol="0">
            <a:spAutoFit/>
          </a:bodyPr>
          <a:lstStyle/>
          <a:p>
            <a:pPr algn="ctr"/>
            <a:r>
              <a:rPr lang="es-ES" sz="2000" b="1" dirty="0" smtClean="0"/>
              <a:t>Venezuela</a:t>
            </a:r>
            <a:endParaRPr lang="es-ES" sz="2000" b="1" dirty="0"/>
          </a:p>
        </p:txBody>
      </p:sp>
      <p:sp>
        <p:nvSpPr>
          <p:cNvPr id="58" name="2 CuadroTexto"/>
          <p:cNvSpPr txBox="1"/>
          <p:nvPr/>
        </p:nvSpPr>
        <p:spPr>
          <a:xfrm>
            <a:off x="647340" y="332656"/>
            <a:ext cx="8496660" cy="400110"/>
          </a:xfrm>
          <a:prstGeom prst="rect">
            <a:avLst/>
          </a:prstGeom>
          <a:no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00"/>
              </a:spcAft>
              <a:defRPr/>
            </a:pPr>
            <a:r>
              <a:rPr lang="es-PE" sz="2000" dirty="0" smtClean="0">
                <a:effectLst>
                  <a:outerShdw blurRad="38100" dist="38100" dir="2700000" algn="tl">
                    <a:srgbClr val="000000">
                      <a:alpha val="43137"/>
                    </a:srgbClr>
                  </a:outerShdw>
                </a:effectLst>
                <a:cs typeface="Arial" pitchFamily="34" charset="0"/>
              </a:rPr>
              <a:t>Principales mercados</a:t>
            </a:r>
            <a:endParaRPr lang="es-PE" sz="2000" dirty="0">
              <a:effectLst>
                <a:outerShdw blurRad="38100" dist="38100" dir="2700000" algn="tl">
                  <a:srgbClr val="000000">
                    <a:alpha val="43137"/>
                  </a:srgbClr>
                </a:outerShdw>
              </a:effectLst>
              <a:cs typeface="Arial" pitchFamily="34" charset="0"/>
            </a:endParaRPr>
          </a:p>
        </p:txBody>
      </p:sp>
    </p:spTree>
    <p:extLst>
      <p:ext uri="{BB962C8B-B14F-4D97-AF65-F5344CB8AC3E}">
        <p14:creationId xmlns:p14="http://schemas.microsoft.com/office/powerpoint/2010/main" val="4108525713"/>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ctángulo 7"/>
          <p:cNvSpPr/>
          <p:nvPr/>
        </p:nvSpPr>
        <p:spPr>
          <a:xfrm>
            <a:off x="611188" y="1412776"/>
            <a:ext cx="8065268" cy="2131203"/>
          </a:xfrm>
          <a:prstGeom prst="rect">
            <a:avLst/>
          </a:prstGeom>
          <a:solidFill>
            <a:schemeClr val="bg1"/>
          </a:solidFill>
          <a:ln>
            <a:solidFill>
              <a:schemeClr val="tx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Rectángulo 1"/>
          <p:cNvSpPr/>
          <p:nvPr/>
        </p:nvSpPr>
        <p:spPr>
          <a:xfrm>
            <a:off x="467544" y="404664"/>
            <a:ext cx="2521459" cy="461665"/>
          </a:xfrm>
          <a:prstGeom prst="rect">
            <a:avLst/>
          </a:prstGeom>
        </p:spPr>
        <p:txBody>
          <a:bodyPr wrap="none">
            <a:spAutoFit/>
          </a:bodyPr>
          <a:lstStyle/>
          <a:p>
            <a:r>
              <a:rPr lang="es-PE" sz="2400" b="1" dirty="0" smtClean="0">
                <a:solidFill>
                  <a:schemeClr val="tx2"/>
                </a:solidFill>
                <a:effectLst>
                  <a:outerShdw blurRad="38100" dist="38100" dir="2700000" algn="tl">
                    <a:srgbClr val="000000">
                      <a:alpha val="43137"/>
                    </a:srgbClr>
                  </a:outerShdw>
                </a:effectLst>
                <a:cs typeface="Arial" pitchFamily="34" charset="0"/>
              </a:rPr>
              <a:t>EXPORTACIÓN:</a:t>
            </a:r>
            <a:endParaRPr lang="es-ES" sz="2400" dirty="0">
              <a:solidFill>
                <a:schemeClr val="tx2"/>
              </a:solidFill>
            </a:endParaRPr>
          </a:p>
        </p:txBody>
      </p:sp>
      <p:sp>
        <p:nvSpPr>
          <p:cNvPr id="3" name="Rectángulo 2"/>
          <p:cNvSpPr/>
          <p:nvPr/>
        </p:nvSpPr>
        <p:spPr>
          <a:xfrm>
            <a:off x="1289281" y="1742038"/>
            <a:ext cx="1655132" cy="369332"/>
          </a:xfrm>
          <a:prstGeom prst="rect">
            <a:avLst/>
          </a:prstGeom>
        </p:spPr>
        <p:txBody>
          <a:bodyPr wrap="none">
            <a:spAutoFit/>
          </a:bodyPr>
          <a:lstStyle/>
          <a:p>
            <a:pPr algn="r"/>
            <a:r>
              <a:rPr lang="es-PE" b="1" dirty="0" smtClean="0"/>
              <a:t>Total MUNDO</a:t>
            </a:r>
          </a:p>
        </p:txBody>
      </p:sp>
      <p:sp>
        <p:nvSpPr>
          <p:cNvPr id="4" name="Rectángulo 3"/>
          <p:cNvSpPr/>
          <p:nvPr/>
        </p:nvSpPr>
        <p:spPr>
          <a:xfrm>
            <a:off x="2944413" y="1556792"/>
            <a:ext cx="4095993" cy="307777"/>
          </a:xfrm>
          <a:prstGeom prst="rect">
            <a:avLst/>
          </a:prstGeom>
        </p:spPr>
        <p:txBody>
          <a:bodyPr wrap="none">
            <a:spAutoFit/>
          </a:bodyPr>
          <a:lstStyle/>
          <a:p>
            <a:r>
              <a:rPr lang="es-PE" sz="1400" dirty="0" smtClean="0"/>
              <a:t>Exportaciones de mercancías: US$ 18.3 billones </a:t>
            </a:r>
            <a:endParaRPr lang="es-ES" sz="1400" dirty="0"/>
          </a:p>
        </p:txBody>
      </p:sp>
      <p:sp>
        <p:nvSpPr>
          <p:cNvPr id="6" name="Rectángulo 5"/>
          <p:cNvSpPr/>
          <p:nvPr/>
        </p:nvSpPr>
        <p:spPr>
          <a:xfrm>
            <a:off x="2944413" y="1926124"/>
            <a:ext cx="4774064" cy="307777"/>
          </a:xfrm>
          <a:prstGeom prst="rect">
            <a:avLst/>
          </a:prstGeom>
        </p:spPr>
        <p:txBody>
          <a:bodyPr wrap="none">
            <a:spAutoFit/>
          </a:bodyPr>
          <a:lstStyle/>
          <a:p>
            <a:r>
              <a:rPr lang="es-PE" sz="1400" dirty="0" smtClean="0"/>
              <a:t>Exportaciones de servicios comerciales: US$ 4.3 billones </a:t>
            </a:r>
            <a:endParaRPr lang="es-ES" sz="1400" dirty="0"/>
          </a:p>
        </p:txBody>
      </p:sp>
      <p:sp>
        <p:nvSpPr>
          <p:cNvPr id="7" name="Rectángulo 6"/>
          <p:cNvSpPr/>
          <p:nvPr/>
        </p:nvSpPr>
        <p:spPr>
          <a:xfrm>
            <a:off x="3131840" y="406405"/>
            <a:ext cx="5544615" cy="923330"/>
          </a:xfrm>
          <a:prstGeom prst="rect">
            <a:avLst/>
          </a:prstGeom>
        </p:spPr>
        <p:txBody>
          <a:bodyPr wrap="square">
            <a:spAutoFit/>
          </a:bodyPr>
          <a:lstStyle/>
          <a:p>
            <a:pPr algn="just"/>
            <a:r>
              <a:rPr lang="es-PE" i="1" dirty="0" smtClean="0"/>
              <a:t>- El comercio total creció 2%, respecto al año anterior.</a:t>
            </a:r>
          </a:p>
          <a:p>
            <a:pPr algn="just"/>
            <a:r>
              <a:rPr lang="es-PE" i="1" dirty="0" smtClean="0"/>
              <a:t>- En 2013 crecería en 2.9%</a:t>
            </a:r>
            <a:endParaRPr lang="es-ES" i="1" dirty="0"/>
          </a:p>
        </p:txBody>
      </p:sp>
      <p:sp>
        <p:nvSpPr>
          <p:cNvPr id="11" name="Rectángulo 10"/>
          <p:cNvSpPr/>
          <p:nvPr/>
        </p:nvSpPr>
        <p:spPr>
          <a:xfrm>
            <a:off x="755576" y="3573016"/>
            <a:ext cx="2089355" cy="307777"/>
          </a:xfrm>
          <a:prstGeom prst="rect">
            <a:avLst/>
          </a:prstGeom>
        </p:spPr>
        <p:txBody>
          <a:bodyPr wrap="none">
            <a:spAutoFit/>
          </a:bodyPr>
          <a:lstStyle/>
          <a:p>
            <a:r>
              <a:rPr lang="es-PE" sz="1400" dirty="0" smtClean="0"/>
              <a:t>Fuente: OMC, PROMPERÚ</a:t>
            </a:r>
            <a:endParaRPr lang="es-ES" sz="1400" dirty="0"/>
          </a:p>
        </p:txBody>
      </p:sp>
      <p:sp>
        <p:nvSpPr>
          <p:cNvPr id="18" name="Rectángulo 2"/>
          <p:cNvSpPr/>
          <p:nvPr/>
        </p:nvSpPr>
        <p:spPr>
          <a:xfrm>
            <a:off x="1326811" y="2740858"/>
            <a:ext cx="1424301" cy="369332"/>
          </a:xfrm>
          <a:prstGeom prst="rect">
            <a:avLst/>
          </a:prstGeom>
        </p:spPr>
        <p:txBody>
          <a:bodyPr wrap="none">
            <a:spAutoFit/>
          </a:bodyPr>
          <a:lstStyle/>
          <a:p>
            <a:r>
              <a:rPr lang="es-PE" b="1" dirty="0" smtClean="0"/>
              <a:t>Total PERÚ</a:t>
            </a:r>
          </a:p>
        </p:txBody>
      </p:sp>
      <p:sp>
        <p:nvSpPr>
          <p:cNvPr id="19" name="Rectángulo 3"/>
          <p:cNvSpPr/>
          <p:nvPr/>
        </p:nvSpPr>
        <p:spPr>
          <a:xfrm>
            <a:off x="2946618" y="2564904"/>
            <a:ext cx="4294765" cy="307777"/>
          </a:xfrm>
          <a:prstGeom prst="rect">
            <a:avLst/>
          </a:prstGeom>
        </p:spPr>
        <p:txBody>
          <a:bodyPr wrap="none">
            <a:spAutoFit/>
          </a:bodyPr>
          <a:lstStyle/>
          <a:p>
            <a:r>
              <a:rPr lang="es-PE" sz="1400" dirty="0" smtClean="0"/>
              <a:t>Exportaciones de mercancías: US$ 46,332 millones</a:t>
            </a:r>
            <a:endParaRPr lang="es-ES" sz="1400" dirty="0"/>
          </a:p>
        </p:txBody>
      </p:sp>
      <p:sp>
        <p:nvSpPr>
          <p:cNvPr id="20" name="Rectángulo 5"/>
          <p:cNvSpPr/>
          <p:nvPr/>
        </p:nvSpPr>
        <p:spPr>
          <a:xfrm>
            <a:off x="2946618" y="2934236"/>
            <a:ext cx="4972836" cy="307777"/>
          </a:xfrm>
          <a:prstGeom prst="rect">
            <a:avLst/>
          </a:prstGeom>
        </p:spPr>
        <p:txBody>
          <a:bodyPr wrap="none">
            <a:spAutoFit/>
          </a:bodyPr>
          <a:lstStyle/>
          <a:p>
            <a:r>
              <a:rPr lang="es-PE" sz="1400" dirty="0" smtClean="0"/>
              <a:t>Exportaciones de servicios comerciales: US$ 5,130 millones</a:t>
            </a:r>
            <a:endParaRPr lang="es-ES" sz="1400" dirty="0"/>
          </a:p>
        </p:txBody>
      </p:sp>
      <p:sp>
        <p:nvSpPr>
          <p:cNvPr id="21" name="20 Rectángulo"/>
          <p:cNvSpPr/>
          <p:nvPr/>
        </p:nvSpPr>
        <p:spPr>
          <a:xfrm>
            <a:off x="781224" y="2204864"/>
            <a:ext cx="755335" cy="400110"/>
          </a:xfrm>
          <a:prstGeom prst="rect">
            <a:avLst/>
          </a:prstGeom>
        </p:spPr>
        <p:txBody>
          <a:bodyPr wrap="none">
            <a:spAutoFit/>
          </a:bodyPr>
          <a:lstStyle/>
          <a:p>
            <a:pPr algn="ctr"/>
            <a:r>
              <a:rPr lang="es-PE" sz="2000" b="1" dirty="0" smtClean="0">
                <a:effectLst>
                  <a:outerShdw blurRad="38100" dist="38100" dir="2700000" algn="tl">
                    <a:srgbClr val="000000">
                      <a:alpha val="43137"/>
                    </a:srgbClr>
                  </a:outerShdw>
                </a:effectLst>
              </a:rPr>
              <a:t>2012</a:t>
            </a:r>
            <a:endParaRPr lang="es-PE" sz="2000" dirty="0">
              <a:effectLst>
                <a:outerShdw blurRad="38100" dist="38100" dir="2700000" algn="tl">
                  <a:srgbClr val="000000">
                    <a:alpha val="43137"/>
                  </a:srgbClr>
                </a:outerShdw>
              </a:effectLst>
            </a:endParaRPr>
          </a:p>
        </p:txBody>
      </p:sp>
      <p:sp>
        <p:nvSpPr>
          <p:cNvPr id="5" name="4 Rectángulo"/>
          <p:cNvSpPr/>
          <p:nvPr/>
        </p:nvSpPr>
        <p:spPr>
          <a:xfrm>
            <a:off x="539552" y="4149080"/>
            <a:ext cx="8280920" cy="1538883"/>
          </a:xfrm>
          <a:prstGeom prst="rect">
            <a:avLst/>
          </a:prstGeom>
        </p:spPr>
        <p:txBody>
          <a:bodyPr wrap="square">
            <a:spAutoFit/>
          </a:bodyPr>
          <a:lstStyle/>
          <a:p>
            <a:pPr marL="285750" indent="-285750" algn="just">
              <a:spcAft>
                <a:spcPts val="600"/>
              </a:spcAft>
              <a:buFontTx/>
              <a:buChar char="-"/>
            </a:pPr>
            <a:r>
              <a:rPr lang="es-PE" sz="1400" dirty="0" smtClean="0"/>
              <a:t>El crecimiento del comercio de desacelerará a causa de problemas en las economías desarrolladas y emergentes.</a:t>
            </a:r>
          </a:p>
          <a:p>
            <a:pPr marL="285750" indent="-285750" algn="just">
              <a:spcAft>
                <a:spcPts val="600"/>
              </a:spcAft>
              <a:buFontTx/>
              <a:buChar char="-"/>
            </a:pPr>
            <a:r>
              <a:rPr lang="es-PE" sz="1400" dirty="0" smtClean="0"/>
              <a:t>La demanda por productos y servicios de mayor valor agregado continuará incrementándose; y los gustos y preferencias de los consumidores son cada vez más exigentes.</a:t>
            </a:r>
          </a:p>
          <a:p>
            <a:pPr marL="285750" indent="-285750" algn="just">
              <a:spcAft>
                <a:spcPts val="600"/>
              </a:spcAft>
              <a:buFontTx/>
              <a:buChar char="-"/>
            </a:pPr>
            <a:r>
              <a:rPr lang="es-PE" sz="1400" dirty="0" smtClean="0"/>
              <a:t>Existe una tendencia mundial por preferir productos y servicios relacionados a la salud, cuidado del medio ambiente y que promuevan el comercio justo.</a:t>
            </a:r>
            <a:endParaRPr lang="es-PE" sz="1400" dirty="0"/>
          </a:p>
        </p:txBody>
      </p:sp>
    </p:spTree>
    <p:extLst>
      <p:ext uri="{BB962C8B-B14F-4D97-AF65-F5344CB8AC3E}">
        <p14:creationId xmlns:p14="http://schemas.microsoft.com/office/powerpoint/2010/main" val="3563486996"/>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8"/>
          <p:cNvSpPr/>
          <p:nvPr/>
        </p:nvSpPr>
        <p:spPr>
          <a:xfrm>
            <a:off x="539552" y="404664"/>
            <a:ext cx="1946367" cy="461665"/>
          </a:xfrm>
          <a:prstGeom prst="rect">
            <a:avLst/>
          </a:prstGeom>
        </p:spPr>
        <p:txBody>
          <a:bodyPr wrap="none">
            <a:spAutoFit/>
          </a:bodyPr>
          <a:lstStyle/>
          <a:p>
            <a:r>
              <a:rPr lang="es-PE" sz="2400" b="1" dirty="0" smtClean="0">
                <a:solidFill>
                  <a:schemeClr val="tx2"/>
                </a:solidFill>
                <a:effectLst>
                  <a:outerShdw blurRad="38100" dist="38100" dir="2700000" algn="tl">
                    <a:srgbClr val="000000">
                      <a:alpha val="43137"/>
                    </a:srgbClr>
                  </a:outerShdw>
                </a:effectLst>
                <a:cs typeface="Arial" pitchFamily="34" charset="0"/>
              </a:rPr>
              <a:t>LICENCIAS:</a:t>
            </a:r>
            <a:endParaRPr lang="es-ES" sz="2400" dirty="0">
              <a:solidFill>
                <a:schemeClr val="tx2"/>
              </a:solidFill>
            </a:endParaRPr>
          </a:p>
        </p:txBody>
      </p:sp>
      <p:sp>
        <p:nvSpPr>
          <p:cNvPr id="5" name="Rectángulo 9"/>
          <p:cNvSpPr/>
          <p:nvPr/>
        </p:nvSpPr>
        <p:spPr>
          <a:xfrm>
            <a:off x="2326981" y="436022"/>
            <a:ext cx="3469155" cy="584775"/>
          </a:xfrm>
          <a:prstGeom prst="rect">
            <a:avLst/>
          </a:prstGeom>
        </p:spPr>
        <p:txBody>
          <a:bodyPr wrap="none">
            <a:spAutoFit/>
          </a:bodyPr>
          <a:lstStyle/>
          <a:p>
            <a:r>
              <a:rPr lang="es-PE" sz="1600" i="1" dirty="0" smtClean="0"/>
              <a:t>- Acuerdos de distribución internacional</a:t>
            </a:r>
          </a:p>
          <a:p>
            <a:r>
              <a:rPr lang="es-PE" sz="1600" i="1" dirty="0" smtClean="0"/>
              <a:t>- Contratos de fabricación</a:t>
            </a:r>
          </a:p>
        </p:txBody>
      </p:sp>
      <p:sp>
        <p:nvSpPr>
          <p:cNvPr id="6" name="Rectángulo 11"/>
          <p:cNvSpPr/>
          <p:nvPr/>
        </p:nvSpPr>
        <p:spPr>
          <a:xfrm>
            <a:off x="1354323" y="1329445"/>
            <a:ext cx="6818077" cy="1759261"/>
          </a:xfrm>
          <a:prstGeom prst="rect">
            <a:avLst/>
          </a:prstGeom>
          <a:solidFill>
            <a:schemeClr val="bg1"/>
          </a:solidFill>
          <a:ln>
            <a:solidFill>
              <a:schemeClr val="tx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7" name="Rectángulo 12"/>
          <p:cNvSpPr/>
          <p:nvPr/>
        </p:nvSpPr>
        <p:spPr>
          <a:xfrm>
            <a:off x="755576" y="3265240"/>
            <a:ext cx="5296963" cy="276999"/>
          </a:xfrm>
          <a:prstGeom prst="rect">
            <a:avLst/>
          </a:prstGeom>
        </p:spPr>
        <p:txBody>
          <a:bodyPr wrap="none">
            <a:spAutoFit/>
          </a:bodyPr>
          <a:lstStyle/>
          <a:p>
            <a:r>
              <a:rPr lang="es-PE" sz="1200" dirty="0" smtClean="0"/>
              <a:t>Fuente: </a:t>
            </a:r>
            <a:r>
              <a:rPr lang="es-ES" sz="1200" dirty="0"/>
              <a:t>International </a:t>
            </a:r>
            <a:r>
              <a:rPr lang="es-ES" sz="1200" dirty="0" err="1"/>
              <a:t>Franchise</a:t>
            </a:r>
            <a:r>
              <a:rPr lang="es-ES" sz="1200" dirty="0"/>
              <a:t> </a:t>
            </a:r>
            <a:r>
              <a:rPr lang="es-ES" sz="1200" dirty="0" err="1"/>
              <a:t>Association</a:t>
            </a:r>
            <a:r>
              <a:rPr lang="es-ES" sz="1200" dirty="0"/>
              <a:t> (IFA</a:t>
            </a:r>
            <a:r>
              <a:rPr lang="es-ES" sz="1200" dirty="0" smtClean="0"/>
              <a:t>) y Cámara Peruana de Franquicias</a:t>
            </a:r>
            <a:endParaRPr lang="es-ES" sz="1200" dirty="0"/>
          </a:p>
        </p:txBody>
      </p:sp>
      <p:sp>
        <p:nvSpPr>
          <p:cNvPr id="8" name="Rectángulo 13"/>
          <p:cNvSpPr/>
          <p:nvPr/>
        </p:nvSpPr>
        <p:spPr>
          <a:xfrm>
            <a:off x="998105" y="1588731"/>
            <a:ext cx="3024336" cy="338554"/>
          </a:xfrm>
          <a:prstGeom prst="rect">
            <a:avLst/>
          </a:prstGeom>
        </p:spPr>
        <p:txBody>
          <a:bodyPr wrap="square">
            <a:spAutoFit/>
          </a:bodyPr>
          <a:lstStyle/>
          <a:p>
            <a:pPr algn="r"/>
            <a:r>
              <a:rPr lang="es-PE" sz="1600" b="1" dirty="0" smtClean="0"/>
              <a:t>Franquicias MUNDO</a:t>
            </a:r>
          </a:p>
        </p:txBody>
      </p:sp>
      <p:sp>
        <p:nvSpPr>
          <p:cNvPr id="9" name="Rectángulo 14"/>
          <p:cNvSpPr/>
          <p:nvPr/>
        </p:nvSpPr>
        <p:spPr>
          <a:xfrm>
            <a:off x="4022441" y="1412777"/>
            <a:ext cx="2095895" cy="307777"/>
          </a:xfrm>
          <a:prstGeom prst="rect">
            <a:avLst/>
          </a:prstGeom>
        </p:spPr>
        <p:txBody>
          <a:bodyPr wrap="none">
            <a:spAutoFit/>
          </a:bodyPr>
          <a:lstStyle/>
          <a:p>
            <a:r>
              <a:rPr lang="es-ES" sz="1400" dirty="0"/>
              <a:t>746,828 establecimientos</a:t>
            </a:r>
            <a:r>
              <a:rPr lang="es-ES_tradnl" sz="1400" dirty="0"/>
              <a:t> </a:t>
            </a:r>
            <a:endParaRPr lang="es-ES" sz="1400" dirty="0"/>
          </a:p>
        </p:txBody>
      </p:sp>
      <p:sp>
        <p:nvSpPr>
          <p:cNvPr id="11" name="Rectángulo 16"/>
          <p:cNvSpPr/>
          <p:nvPr/>
        </p:nvSpPr>
        <p:spPr>
          <a:xfrm>
            <a:off x="4022441" y="1763525"/>
            <a:ext cx="3723327" cy="307777"/>
          </a:xfrm>
          <a:prstGeom prst="rect">
            <a:avLst/>
          </a:prstGeom>
        </p:spPr>
        <p:txBody>
          <a:bodyPr wrap="none">
            <a:spAutoFit/>
          </a:bodyPr>
          <a:lstStyle/>
          <a:p>
            <a:r>
              <a:rPr lang="es-ES" sz="1400" dirty="0"/>
              <a:t>US$ 769 </a:t>
            </a:r>
            <a:r>
              <a:rPr lang="es-ES" sz="1400" dirty="0" smtClean="0"/>
              <a:t>billones en ventas (+4.9% que en 2011)</a:t>
            </a:r>
            <a:r>
              <a:rPr lang="es-ES_tradnl" sz="1400" dirty="0" smtClean="0"/>
              <a:t> </a:t>
            </a:r>
            <a:endParaRPr lang="es-ES" sz="1400" dirty="0"/>
          </a:p>
        </p:txBody>
      </p:sp>
      <p:sp>
        <p:nvSpPr>
          <p:cNvPr id="12" name="11 Rectángulo"/>
          <p:cNvSpPr/>
          <p:nvPr/>
        </p:nvSpPr>
        <p:spPr>
          <a:xfrm>
            <a:off x="395536" y="3842171"/>
            <a:ext cx="8424936" cy="2046714"/>
          </a:xfrm>
          <a:prstGeom prst="rect">
            <a:avLst/>
          </a:prstGeom>
        </p:spPr>
        <p:txBody>
          <a:bodyPr wrap="square">
            <a:spAutoFit/>
          </a:bodyPr>
          <a:lstStyle/>
          <a:p>
            <a:pPr marL="285750" indent="-285750" algn="just">
              <a:spcAft>
                <a:spcPts val="600"/>
              </a:spcAft>
              <a:buFontTx/>
              <a:buChar char="-"/>
            </a:pPr>
            <a:r>
              <a:rPr lang="es-PE" sz="1400" dirty="0" smtClean="0"/>
              <a:t>Los </a:t>
            </a:r>
            <a:r>
              <a:rPr lang="es-PE" sz="1400" dirty="0"/>
              <a:t>consumidores demandan </a:t>
            </a:r>
            <a:r>
              <a:rPr lang="es-PE" sz="1400" dirty="0" smtClean="0"/>
              <a:t>cada vez más franquicias </a:t>
            </a:r>
            <a:r>
              <a:rPr lang="es-PE" sz="1400" dirty="0"/>
              <a:t>de alimentos/</a:t>
            </a:r>
            <a:r>
              <a:rPr lang="es-PE" sz="1400" dirty="0" err="1"/>
              <a:t>fast</a:t>
            </a:r>
            <a:r>
              <a:rPr lang="es-PE" sz="1400" dirty="0"/>
              <a:t> </a:t>
            </a:r>
            <a:r>
              <a:rPr lang="es-PE" sz="1400" dirty="0" err="1"/>
              <a:t>food</a:t>
            </a:r>
            <a:r>
              <a:rPr lang="es-PE" sz="1400" dirty="0"/>
              <a:t> </a:t>
            </a:r>
            <a:r>
              <a:rPr lang="es-PE" sz="1400" dirty="0" smtClean="0"/>
              <a:t>saludables y de servicios vinculados a la salud.</a:t>
            </a:r>
            <a:endParaRPr lang="es-PE" sz="1400" dirty="0"/>
          </a:p>
          <a:p>
            <a:pPr marL="285750" indent="-285750" algn="just">
              <a:spcAft>
                <a:spcPts val="600"/>
              </a:spcAft>
              <a:buFontTx/>
              <a:buChar char="-"/>
            </a:pPr>
            <a:r>
              <a:rPr lang="es-PE" sz="1400" dirty="0"/>
              <a:t>Los segmentos de franquicias que continuarán creciendo en mayor medida son los de bienes raíces y los de servicios comerciales y residenciales.</a:t>
            </a:r>
          </a:p>
          <a:p>
            <a:pPr marL="285750" indent="-285750" algn="just">
              <a:spcAft>
                <a:spcPts val="600"/>
              </a:spcAft>
              <a:buFontTx/>
              <a:buChar char="-"/>
            </a:pPr>
            <a:r>
              <a:rPr lang="es-PE" sz="1400" dirty="0"/>
              <a:t>Cada vez más las empresas prefieren franquiciar sus marcas a un solo </a:t>
            </a:r>
            <a:r>
              <a:rPr lang="es-PE" sz="1400" dirty="0" err="1"/>
              <a:t>franquiciatario</a:t>
            </a:r>
            <a:r>
              <a:rPr lang="es-PE" sz="1400" dirty="0"/>
              <a:t> maestro que controle y abra múltiples tiendas en el territorio</a:t>
            </a:r>
            <a:r>
              <a:rPr lang="es-PE" sz="1400" dirty="0" smtClean="0"/>
              <a:t>.</a:t>
            </a:r>
          </a:p>
          <a:p>
            <a:pPr marL="285750" indent="-285750" algn="just">
              <a:spcAft>
                <a:spcPts val="600"/>
              </a:spcAft>
              <a:buFontTx/>
              <a:buChar char="-"/>
            </a:pPr>
            <a:r>
              <a:rPr lang="es-PE" sz="1400" dirty="0"/>
              <a:t>L</a:t>
            </a:r>
            <a:r>
              <a:rPr lang="es-PE" sz="1400" dirty="0" smtClean="0"/>
              <a:t>as </a:t>
            </a:r>
            <a:r>
              <a:rPr lang="es-PE" sz="1400" dirty="0"/>
              <a:t>franquicias han encontrado en la tecnología a un importante aliado para crecer </a:t>
            </a:r>
            <a:r>
              <a:rPr lang="es-PE" sz="1400" dirty="0" smtClean="0"/>
              <a:t>internacionalmente y </a:t>
            </a:r>
            <a:r>
              <a:rPr lang="es-PE" sz="1400" dirty="0"/>
              <a:t>lograr mejores </a:t>
            </a:r>
            <a:r>
              <a:rPr lang="es-PE" sz="1400" dirty="0" smtClean="0"/>
              <a:t>resultados.</a:t>
            </a:r>
            <a:endParaRPr lang="es-PE" sz="1400" dirty="0"/>
          </a:p>
        </p:txBody>
      </p:sp>
      <p:sp>
        <p:nvSpPr>
          <p:cNvPr id="13" name="12 Rectángulo"/>
          <p:cNvSpPr/>
          <p:nvPr/>
        </p:nvSpPr>
        <p:spPr>
          <a:xfrm>
            <a:off x="6336704" y="404664"/>
            <a:ext cx="2627784" cy="584775"/>
          </a:xfrm>
          <a:prstGeom prst="rect">
            <a:avLst/>
          </a:prstGeom>
        </p:spPr>
        <p:txBody>
          <a:bodyPr wrap="square">
            <a:spAutoFit/>
          </a:bodyPr>
          <a:lstStyle/>
          <a:p>
            <a:r>
              <a:rPr lang="es-PE" sz="1600" i="1" dirty="0"/>
              <a:t>- Cesión de patentes</a:t>
            </a:r>
          </a:p>
          <a:p>
            <a:r>
              <a:rPr lang="es-PE" sz="1600" i="1" dirty="0">
                <a:effectLst>
                  <a:outerShdw blurRad="38100" dist="38100" dir="2700000" algn="tl">
                    <a:srgbClr val="000000">
                      <a:alpha val="43137"/>
                    </a:srgbClr>
                  </a:outerShdw>
                </a:effectLst>
              </a:rPr>
              <a:t>- Franquicias</a:t>
            </a:r>
            <a:endParaRPr lang="es-ES" sz="1600" i="1" dirty="0">
              <a:effectLst>
                <a:outerShdw blurRad="38100" dist="38100" dir="2700000" algn="tl">
                  <a:srgbClr val="000000">
                    <a:alpha val="43137"/>
                  </a:srgbClr>
                </a:outerShdw>
              </a:effectLst>
            </a:endParaRPr>
          </a:p>
        </p:txBody>
      </p:sp>
      <p:sp>
        <p:nvSpPr>
          <p:cNvPr id="14" name="Rectángulo 13"/>
          <p:cNvSpPr/>
          <p:nvPr/>
        </p:nvSpPr>
        <p:spPr>
          <a:xfrm>
            <a:off x="1763688" y="2452827"/>
            <a:ext cx="2232248" cy="338554"/>
          </a:xfrm>
          <a:prstGeom prst="rect">
            <a:avLst/>
          </a:prstGeom>
        </p:spPr>
        <p:txBody>
          <a:bodyPr wrap="square">
            <a:spAutoFit/>
          </a:bodyPr>
          <a:lstStyle/>
          <a:p>
            <a:r>
              <a:rPr lang="es-PE" sz="1600" b="1" dirty="0" smtClean="0"/>
              <a:t>Franquicias PERÚ</a:t>
            </a:r>
          </a:p>
        </p:txBody>
      </p:sp>
      <p:sp>
        <p:nvSpPr>
          <p:cNvPr id="15" name="14 Rectángulo"/>
          <p:cNvSpPr/>
          <p:nvPr/>
        </p:nvSpPr>
        <p:spPr>
          <a:xfrm>
            <a:off x="3995936" y="2204865"/>
            <a:ext cx="2046458" cy="307777"/>
          </a:xfrm>
          <a:prstGeom prst="rect">
            <a:avLst/>
          </a:prstGeom>
        </p:spPr>
        <p:txBody>
          <a:bodyPr wrap="none">
            <a:spAutoFit/>
          </a:bodyPr>
          <a:lstStyle/>
          <a:p>
            <a:r>
              <a:rPr lang="es-PE" sz="1400" dirty="0" smtClean="0"/>
              <a:t>300 franquicias operando</a:t>
            </a:r>
            <a:endParaRPr lang="es-ES" sz="1400" dirty="0"/>
          </a:p>
        </p:txBody>
      </p:sp>
      <p:sp>
        <p:nvSpPr>
          <p:cNvPr id="16" name="15 Rectángulo"/>
          <p:cNvSpPr/>
          <p:nvPr/>
        </p:nvSpPr>
        <p:spPr>
          <a:xfrm>
            <a:off x="3995936" y="2492897"/>
            <a:ext cx="2670539" cy="307777"/>
          </a:xfrm>
          <a:prstGeom prst="rect">
            <a:avLst/>
          </a:prstGeom>
        </p:spPr>
        <p:txBody>
          <a:bodyPr wrap="none">
            <a:spAutoFit/>
          </a:bodyPr>
          <a:lstStyle/>
          <a:p>
            <a:r>
              <a:rPr lang="es-PE" sz="1400" dirty="0" smtClean="0"/>
              <a:t>60% Extranjeras – 40% Nacionales</a:t>
            </a:r>
            <a:endParaRPr lang="es-ES" sz="1400" dirty="0"/>
          </a:p>
        </p:txBody>
      </p:sp>
      <p:sp>
        <p:nvSpPr>
          <p:cNvPr id="17" name="16 Rectángulo"/>
          <p:cNvSpPr/>
          <p:nvPr/>
        </p:nvSpPr>
        <p:spPr>
          <a:xfrm>
            <a:off x="3995936" y="2780929"/>
            <a:ext cx="3181512" cy="307777"/>
          </a:xfrm>
          <a:prstGeom prst="rect">
            <a:avLst/>
          </a:prstGeom>
        </p:spPr>
        <p:txBody>
          <a:bodyPr wrap="none">
            <a:spAutoFit/>
          </a:bodyPr>
          <a:lstStyle/>
          <a:p>
            <a:r>
              <a:rPr lang="es-PE" sz="1400" dirty="0" smtClean="0"/>
              <a:t>US$ 900 millones en ventas (+20% anual)</a:t>
            </a:r>
            <a:endParaRPr lang="es-ES" sz="1400" dirty="0"/>
          </a:p>
        </p:txBody>
      </p:sp>
      <p:sp>
        <p:nvSpPr>
          <p:cNvPr id="18" name="17 Rectángulo"/>
          <p:cNvSpPr/>
          <p:nvPr/>
        </p:nvSpPr>
        <p:spPr>
          <a:xfrm>
            <a:off x="1759017" y="2060849"/>
            <a:ext cx="652743" cy="369332"/>
          </a:xfrm>
          <a:prstGeom prst="rect">
            <a:avLst/>
          </a:prstGeom>
        </p:spPr>
        <p:txBody>
          <a:bodyPr wrap="none">
            <a:spAutoFit/>
          </a:bodyPr>
          <a:lstStyle/>
          <a:p>
            <a:pPr algn="ctr"/>
            <a:r>
              <a:rPr lang="es-PE" b="1" dirty="0" smtClean="0">
                <a:effectLst>
                  <a:outerShdw blurRad="38100" dist="38100" dir="2700000" algn="tl">
                    <a:srgbClr val="000000">
                      <a:alpha val="43137"/>
                    </a:srgbClr>
                  </a:outerShdw>
                </a:effectLst>
              </a:rPr>
              <a:t>2012</a:t>
            </a:r>
            <a:endParaRPr lang="es-PE"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921094539"/>
      </p:ext>
    </p:extLst>
  </p:cSld>
  <p:clrMapOvr>
    <a:masterClrMapping/>
  </p:clrMapOvr>
  <p:transition spd="slow">
    <p:push dir="u"/>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p:cNvSpPr/>
          <p:nvPr/>
        </p:nvSpPr>
        <p:spPr>
          <a:xfrm>
            <a:off x="1043608" y="1412776"/>
            <a:ext cx="7128792" cy="3871029"/>
          </a:xfrm>
          <a:prstGeom prst="rect">
            <a:avLst/>
          </a:prstGeom>
          <a:solidFill>
            <a:schemeClr val="bg2"/>
          </a:solidFill>
          <a:ln>
            <a:solidFill>
              <a:schemeClr val="tx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4" name="Rectángulo 3"/>
          <p:cNvSpPr/>
          <p:nvPr/>
        </p:nvSpPr>
        <p:spPr>
          <a:xfrm>
            <a:off x="467544" y="404664"/>
            <a:ext cx="4124655" cy="830997"/>
          </a:xfrm>
          <a:prstGeom prst="rect">
            <a:avLst/>
          </a:prstGeom>
        </p:spPr>
        <p:txBody>
          <a:bodyPr wrap="none">
            <a:spAutoFit/>
          </a:bodyPr>
          <a:lstStyle/>
          <a:p>
            <a:r>
              <a:rPr lang="es-PE" sz="2400" b="1" dirty="0" smtClean="0">
                <a:solidFill>
                  <a:schemeClr val="tx2"/>
                </a:solidFill>
                <a:effectLst>
                  <a:outerShdw blurRad="38100" dist="38100" dir="2700000" algn="tl">
                    <a:srgbClr val="000000">
                      <a:alpha val="43137"/>
                    </a:srgbClr>
                  </a:outerShdw>
                </a:effectLst>
                <a:cs typeface="Arial" pitchFamily="34" charset="0"/>
              </a:rPr>
              <a:t>INVERSIÓN EXTRANJERA </a:t>
            </a:r>
          </a:p>
          <a:p>
            <a:r>
              <a:rPr lang="es-PE" sz="2400" b="1" dirty="0" smtClean="0">
                <a:solidFill>
                  <a:schemeClr val="tx2"/>
                </a:solidFill>
                <a:effectLst>
                  <a:outerShdw blurRad="38100" dist="38100" dir="2700000" algn="tl">
                    <a:srgbClr val="000000">
                      <a:alpha val="43137"/>
                    </a:srgbClr>
                  </a:outerShdw>
                </a:effectLst>
                <a:cs typeface="Arial" pitchFamily="34" charset="0"/>
              </a:rPr>
              <a:t>DIRECTA (IED):</a:t>
            </a:r>
            <a:endParaRPr lang="es-ES" sz="2400" dirty="0">
              <a:solidFill>
                <a:schemeClr val="tx2"/>
              </a:solidFill>
            </a:endParaRPr>
          </a:p>
        </p:txBody>
      </p:sp>
      <p:sp>
        <p:nvSpPr>
          <p:cNvPr id="5" name="Rectángulo 4"/>
          <p:cNvSpPr/>
          <p:nvPr/>
        </p:nvSpPr>
        <p:spPr>
          <a:xfrm>
            <a:off x="4431898" y="373886"/>
            <a:ext cx="3956525" cy="923330"/>
          </a:xfrm>
          <a:prstGeom prst="rect">
            <a:avLst/>
          </a:prstGeom>
        </p:spPr>
        <p:txBody>
          <a:bodyPr wrap="square">
            <a:spAutoFit/>
          </a:bodyPr>
          <a:lstStyle/>
          <a:p>
            <a:r>
              <a:rPr lang="es-PE" i="1" dirty="0" smtClean="0"/>
              <a:t>- Fusiones.</a:t>
            </a:r>
          </a:p>
          <a:p>
            <a:r>
              <a:rPr lang="es-PE" i="1" dirty="0" smtClean="0"/>
              <a:t>- Adquisiciones</a:t>
            </a:r>
          </a:p>
          <a:p>
            <a:r>
              <a:rPr lang="es-ES" i="1" dirty="0" smtClean="0"/>
              <a:t>- Empresas conjuntas (</a:t>
            </a:r>
            <a:r>
              <a:rPr lang="es-ES" i="1" dirty="0" err="1" smtClean="0"/>
              <a:t>joint</a:t>
            </a:r>
            <a:r>
              <a:rPr lang="es-ES" i="1" dirty="0"/>
              <a:t> </a:t>
            </a:r>
            <a:r>
              <a:rPr lang="es-ES" i="1" dirty="0" err="1" smtClean="0"/>
              <a:t>venture</a:t>
            </a:r>
            <a:r>
              <a:rPr lang="es-ES" i="1" dirty="0" smtClean="0"/>
              <a:t>)</a:t>
            </a:r>
            <a:endParaRPr lang="es-ES" i="1" dirty="0"/>
          </a:p>
        </p:txBody>
      </p:sp>
      <p:graphicFrame>
        <p:nvGraphicFramePr>
          <p:cNvPr id="6" name="Tabla 5"/>
          <p:cNvGraphicFramePr>
            <a:graphicFrameLocks noGrp="1"/>
          </p:cNvGraphicFramePr>
          <p:nvPr>
            <p:extLst>
              <p:ext uri="{D42A27DB-BD31-4B8C-83A1-F6EECF244321}">
                <p14:modId xmlns:p14="http://schemas.microsoft.com/office/powerpoint/2010/main" val="3850549764"/>
              </p:ext>
            </p:extLst>
          </p:nvPr>
        </p:nvGraphicFramePr>
        <p:xfrm>
          <a:off x="1259632" y="1827421"/>
          <a:ext cx="6696744" cy="3116062"/>
        </p:xfrm>
        <a:graphic>
          <a:graphicData uri="http://schemas.openxmlformats.org/drawingml/2006/table">
            <a:tbl>
              <a:tblPr/>
              <a:tblGrid>
                <a:gridCol w="3458758"/>
                <a:gridCol w="809497"/>
                <a:gridCol w="735906"/>
                <a:gridCol w="935781"/>
                <a:gridCol w="756802"/>
              </a:tblGrid>
              <a:tr h="437671">
                <a:tc rowSpan="2">
                  <a:txBody>
                    <a:bodyPr/>
                    <a:lstStyle/>
                    <a:p>
                      <a:pPr algn="ctr" fontAlgn="ctr"/>
                      <a:r>
                        <a:rPr lang="es-ES_tradnl" sz="1400" b="1" i="0" u="none" strike="noStrike" dirty="0">
                          <a:solidFill>
                            <a:schemeClr val="tx1"/>
                          </a:solidFill>
                          <a:effectLst/>
                          <a:latin typeface="Calibri"/>
                        </a:rPr>
                        <a:t>Región, grupo o país.</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gridSpan="2">
                  <a:txBody>
                    <a:bodyPr/>
                    <a:lstStyle/>
                    <a:p>
                      <a:pPr algn="ctr" fontAlgn="ctr"/>
                      <a:r>
                        <a:rPr lang="es-ES_tradnl" sz="1400" b="1" i="0" u="none" strike="noStrike" dirty="0">
                          <a:solidFill>
                            <a:schemeClr val="tx1"/>
                          </a:solidFill>
                          <a:effectLst/>
                          <a:latin typeface="Calibri"/>
                        </a:rPr>
                        <a:t>Entrada de IED</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hMerge="1">
                  <a:txBody>
                    <a:bodyPr/>
                    <a:lstStyle/>
                    <a:p>
                      <a:endParaRPr lang="es-ES"/>
                    </a:p>
                  </a:txBody>
                  <a:tcPr/>
                </a:tc>
                <a:tc gridSpan="2">
                  <a:txBody>
                    <a:bodyPr/>
                    <a:lstStyle/>
                    <a:p>
                      <a:pPr algn="ctr" fontAlgn="ctr"/>
                      <a:r>
                        <a:rPr lang="es-ES_tradnl" sz="1400" b="1" i="0" u="none" strike="noStrike" dirty="0">
                          <a:solidFill>
                            <a:schemeClr val="tx1"/>
                          </a:solidFill>
                          <a:effectLst/>
                          <a:latin typeface="Calibri"/>
                        </a:rPr>
                        <a:t>Fusiones y adquisiciones según origen</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hMerge="1">
                  <a:txBody>
                    <a:bodyPr/>
                    <a:lstStyle/>
                    <a:p>
                      <a:endParaRPr lang="es-ES"/>
                    </a:p>
                  </a:txBody>
                  <a:tcPr/>
                </a:tc>
              </a:tr>
              <a:tr h="440609">
                <a:tc vMerge="1">
                  <a:txBody>
                    <a:bodyPr/>
                    <a:lstStyle/>
                    <a:p>
                      <a:endParaRPr lang="es-ES"/>
                    </a:p>
                  </a:txBody>
                  <a:tcPr/>
                </a:tc>
                <a:tc>
                  <a:txBody>
                    <a:bodyPr/>
                    <a:lstStyle/>
                    <a:p>
                      <a:pPr algn="ctr" fontAlgn="ctr"/>
                      <a:r>
                        <a:rPr lang="es-ES" sz="1400" b="1" i="0" u="none" strike="noStrike" dirty="0">
                          <a:solidFill>
                            <a:schemeClr val="tx1"/>
                          </a:solidFill>
                          <a:effectLst/>
                          <a:latin typeface="Calibri"/>
                        </a:rPr>
                        <a:t>2012</a:t>
                      </a:r>
                    </a:p>
                  </a:txBody>
                  <a:tcPr marL="12700" marR="12700" marT="1270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s-ES" sz="1400" b="1" i="0" u="none" strike="noStrike" dirty="0">
                          <a:solidFill>
                            <a:schemeClr val="tx1"/>
                          </a:solidFill>
                          <a:effectLst/>
                          <a:latin typeface="Calibri"/>
                        </a:rPr>
                        <a:t>Var.% 12/11</a:t>
                      </a:r>
                    </a:p>
                  </a:txBody>
                  <a:tcPr marL="12700" marR="12700" marT="1270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s-ES" sz="1400" b="1" i="0" u="none" strike="noStrike" dirty="0">
                          <a:solidFill>
                            <a:schemeClr val="tx1"/>
                          </a:solidFill>
                          <a:effectLst/>
                          <a:latin typeface="Calibri"/>
                        </a:rPr>
                        <a:t>2012</a:t>
                      </a:r>
                    </a:p>
                  </a:txBody>
                  <a:tcPr marL="12700" marR="12700" marT="1270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s-ES" sz="1400" b="1" i="0" u="none" strike="noStrike" dirty="0">
                          <a:solidFill>
                            <a:schemeClr val="tx1"/>
                          </a:solidFill>
                          <a:effectLst/>
                          <a:latin typeface="Calibri"/>
                        </a:rPr>
                        <a:t>Var.% 12/11</a:t>
                      </a:r>
                    </a:p>
                  </a:txBody>
                  <a:tcPr marL="12700" marR="12700" marT="12700"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226179">
                <a:tc>
                  <a:txBody>
                    <a:bodyPr/>
                    <a:lstStyle/>
                    <a:p>
                      <a:pPr lvl="1" algn="l" fontAlgn="b"/>
                      <a:r>
                        <a:rPr lang="es-ES_tradnl" sz="1400" b="1" i="0" u="none" strike="noStrike" dirty="0">
                          <a:solidFill>
                            <a:srgbClr val="000000"/>
                          </a:solidFill>
                          <a:effectLst/>
                          <a:latin typeface="Calibri"/>
                        </a:rPr>
                        <a:t>Mundo</a:t>
                      </a:r>
                    </a:p>
                  </a:txBody>
                  <a:tcPr marL="12700" marR="12700" marT="1270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CE6F1"/>
                    </a:solidFill>
                  </a:tcPr>
                </a:tc>
                <a:tc>
                  <a:txBody>
                    <a:bodyPr/>
                    <a:lstStyle/>
                    <a:p>
                      <a:pPr algn="ctr" fontAlgn="b"/>
                      <a:r>
                        <a:rPr lang="es-ES" sz="1400" b="1" i="0" u="none" strike="noStrike" dirty="0">
                          <a:solidFill>
                            <a:srgbClr val="000000"/>
                          </a:solidFill>
                          <a:effectLst/>
                          <a:latin typeface="Calibri"/>
                        </a:rPr>
                        <a:t>1,311</a:t>
                      </a:r>
                    </a:p>
                  </a:txBody>
                  <a:tcPr marL="12700" marR="12700" marT="12700" marB="0" anchor="ctr">
                    <a:lnL>
                      <a:noFill/>
                    </a:lnL>
                    <a:lnR>
                      <a:noFill/>
                    </a:lnR>
                    <a:lnT w="6350" cap="flat" cmpd="sng" algn="ctr">
                      <a:solidFill>
                        <a:srgbClr val="000000"/>
                      </a:solidFill>
                      <a:prstDash val="solid"/>
                      <a:round/>
                      <a:headEnd type="none" w="med" len="med"/>
                      <a:tailEnd type="none" w="med" len="med"/>
                    </a:lnT>
                    <a:lnB>
                      <a:noFill/>
                    </a:lnB>
                    <a:solidFill>
                      <a:srgbClr val="DCE6F1"/>
                    </a:solidFill>
                  </a:tcPr>
                </a:tc>
                <a:tc>
                  <a:txBody>
                    <a:bodyPr/>
                    <a:lstStyle/>
                    <a:p>
                      <a:pPr algn="ctr" fontAlgn="b"/>
                      <a:r>
                        <a:rPr lang="es-ES" sz="1400" b="1" i="0" u="none" strike="noStrike" dirty="0">
                          <a:solidFill>
                            <a:srgbClr val="000000"/>
                          </a:solidFill>
                          <a:effectLst/>
                          <a:latin typeface="Calibri"/>
                        </a:rPr>
                        <a:t>-18</a:t>
                      </a:r>
                    </a:p>
                  </a:txBody>
                  <a:tcPr marL="12700" marR="12700" marT="12700" marB="0" anchor="ctr">
                    <a:lnL>
                      <a:noFill/>
                    </a:lnL>
                    <a:lnR>
                      <a:noFill/>
                    </a:lnR>
                    <a:lnT w="6350" cap="flat" cmpd="sng" algn="ctr">
                      <a:solidFill>
                        <a:srgbClr val="000000"/>
                      </a:solidFill>
                      <a:prstDash val="solid"/>
                      <a:round/>
                      <a:headEnd type="none" w="med" len="med"/>
                      <a:tailEnd type="none" w="med" len="med"/>
                    </a:lnT>
                    <a:lnB>
                      <a:noFill/>
                    </a:lnB>
                    <a:solidFill>
                      <a:srgbClr val="DCE6F1"/>
                    </a:solidFill>
                  </a:tcPr>
                </a:tc>
                <a:tc>
                  <a:txBody>
                    <a:bodyPr/>
                    <a:lstStyle/>
                    <a:p>
                      <a:pPr algn="ctr" fontAlgn="b"/>
                      <a:r>
                        <a:rPr lang="es-ES" sz="1400" b="1" i="0" u="none" strike="noStrike">
                          <a:solidFill>
                            <a:srgbClr val="000000"/>
                          </a:solidFill>
                          <a:effectLst/>
                          <a:latin typeface="Calibri"/>
                        </a:rPr>
                        <a:t>526</a:t>
                      </a:r>
                    </a:p>
                  </a:txBody>
                  <a:tcPr marL="12700" marR="12700" marT="12700" marB="0" anchor="ctr">
                    <a:lnL>
                      <a:noFill/>
                    </a:lnL>
                    <a:lnR>
                      <a:noFill/>
                    </a:lnR>
                    <a:lnT w="6350" cap="flat" cmpd="sng" algn="ctr">
                      <a:solidFill>
                        <a:srgbClr val="000000"/>
                      </a:solidFill>
                      <a:prstDash val="solid"/>
                      <a:round/>
                      <a:headEnd type="none" w="med" len="med"/>
                      <a:tailEnd type="none" w="med" len="med"/>
                    </a:lnT>
                    <a:lnB>
                      <a:noFill/>
                    </a:lnB>
                    <a:solidFill>
                      <a:srgbClr val="DCE6F1"/>
                    </a:solidFill>
                  </a:tcPr>
                </a:tc>
                <a:tc>
                  <a:txBody>
                    <a:bodyPr/>
                    <a:lstStyle/>
                    <a:p>
                      <a:pPr algn="ctr" fontAlgn="b"/>
                      <a:r>
                        <a:rPr lang="es-ES" sz="1400" b="1" i="0" u="none" strike="noStrike">
                          <a:solidFill>
                            <a:srgbClr val="000000"/>
                          </a:solidFill>
                          <a:effectLst/>
                          <a:latin typeface="Calibri"/>
                        </a:rPr>
                        <a:t>-41</a:t>
                      </a:r>
                    </a:p>
                  </a:txBody>
                  <a:tcPr marL="12700" marR="12700" marT="1270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CE6F1"/>
                    </a:solidFill>
                  </a:tcPr>
                </a:tc>
              </a:tr>
              <a:tr h="226179">
                <a:tc>
                  <a:txBody>
                    <a:bodyPr/>
                    <a:lstStyle/>
                    <a:p>
                      <a:pPr lvl="1" algn="l" fontAlgn="b"/>
                      <a:r>
                        <a:rPr lang="es-ES_tradnl" sz="1400" b="1" i="0" u="none" strike="noStrike" dirty="0">
                          <a:solidFill>
                            <a:srgbClr val="000000"/>
                          </a:solidFill>
                          <a:effectLst/>
                          <a:latin typeface="Calibri"/>
                        </a:rPr>
                        <a:t>Economías Desarrolladas</a:t>
                      </a:r>
                    </a:p>
                  </a:txBody>
                  <a:tcPr marL="12700" marR="12700" marT="12700" marB="0" anchor="ctr">
                    <a:lnL w="6350" cap="flat" cmpd="sng" algn="ctr">
                      <a:solidFill>
                        <a:srgbClr val="000000"/>
                      </a:solidFill>
                      <a:prstDash val="solid"/>
                      <a:round/>
                      <a:headEnd type="none" w="med" len="med"/>
                      <a:tailEnd type="none" w="med" len="med"/>
                    </a:lnL>
                    <a:lnR>
                      <a:noFill/>
                    </a:lnR>
                    <a:lnT>
                      <a:noFill/>
                    </a:lnT>
                    <a:lnB>
                      <a:noFill/>
                    </a:lnB>
                    <a:solidFill>
                      <a:srgbClr val="DCE6F1"/>
                    </a:solidFill>
                  </a:tcPr>
                </a:tc>
                <a:tc>
                  <a:txBody>
                    <a:bodyPr/>
                    <a:lstStyle/>
                    <a:p>
                      <a:pPr algn="ctr" fontAlgn="b"/>
                      <a:r>
                        <a:rPr lang="es-ES" sz="1400" b="1" i="0" u="none" strike="noStrike" dirty="0">
                          <a:solidFill>
                            <a:srgbClr val="000000"/>
                          </a:solidFill>
                          <a:effectLst/>
                          <a:latin typeface="Calibri"/>
                        </a:rPr>
                        <a:t>549</a:t>
                      </a:r>
                    </a:p>
                  </a:txBody>
                  <a:tcPr marL="12700" marR="12700" marT="12700" marB="0" anchor="ctr">
                    <a:lnL>
                      <a:noFill/>
                    </a:lnL>
                    <a:lnR>
                      <a:noFill/>
                    </a:lnR>
                    <a:lnT>
                      <a:noFill/>
                    </a:lnT>
                    <a:lnB>
                      <a:noFill/>
                    </a:lnB>
                    <a:solidFill>
                      <a:srgbClr val="DCE6F1"/>
                    </a:solidFill>
                  </a:tcPr>
                </a:tc>
                <a:tc>
                  <a:txBody>
                    <a:bodyPr/>
                    <a:lstStyle/>
                    <a:p>
                      <a:pPr algn="ctr" fontAlgn="b"/>
                      <a:r>
                        <a:rPr lang="es-ES" sz="1400" b="1" i="0" u="none" strike="noStrike" dirty="0">
                          <a:solidFill>
                            <a:srgbClr val="000000"/>
                          </a:solidFill>
                          <a:effectLst/>
                          <a:latin typeface="Calibri"/>
                        </a:rPr>
                        <a:t>-32</a:t>
                      </a:r>
                    </a:p>
                  </a:txBody>
                  <a:tcPr marL="12700" marR="12700" marT="12700" marB="0" anchor="ctr">
                    <a:lnL>
                      <a:noFill/>
                    </a:lnL>
                    <a:lnR>
                      <a:noFill/>
                    </a:lnR>
                    <a:lnT>
                      <a:noFill/>
                    </a:lnT>
                    <a:lnB>
                      <a:noFill/>
                    </a:lnB>
                    <a:solidFill>
                      <a:srgbClr val="DCE6F1"/>
                    </a:solidFill>
                  </a:tcPr>
                </a:tc>
                <a:tc>
                  <a:txBody>
                    <a:bodyPr/>
                    <a:lstStyle/>
                    <a:p>
                      <a:pPr algn="ctr" fontAlgn="b"/>
                      <a:r>
                        <a:rPr lang="es-ES" sz="1400" b="1" i="0" u="none" strike="noStrike" dirty="0">
                          <a:solidFill>
                            <a:srgbClr val="000000"/>
                          </a:solidFill>
                          <a:effectLst/>
                          <a:latin typeface="Calibri"/>
                        </a:rPr>
                        <a:t>401</a:t>
                      </a:r>
                    </a:p>
                  </a:txBody>
                  <a:tcPr marL="12700" marR="12700" marT="12700" marB="0" anchor="ctr">
                    <a:lnL>
                      <a:noFill/>
                    </a:lnL>
                    <a:lnR>
                      <a:noFill/>
                    </a:lnR>
                    <a:lnT>
                      <a:noFill/>
                    </a:lnT>
                    <a:lnB>
                      <a:noFill/>
                    </a:lnB>
                    <a:solidFill>
                      <a:srgbClr val="DCE6F1"/>
                    </a:solidFill>
                  </a:tcPr>
                </a:tc>
                <a:tc>
                  <a:txBody>
                    <a:bodyPr/>
                    <a:lstStyle/>
                    <a:p>
                      <a:pPr algn="ctr" fontAlgn="b"/>
                      <a:r>
                        <a:rPr lang="es-ES" sz="1400" b="1" i="0" u="none" strike="noStrike">
                          <a:solidFill>
                            <a:srgbClr val="000000"/>
                          </a:solidFill>
                          <a:effectLst/>
                          <a:latin typeface="Calibri"/>
                        </a:rPr>
                        <a:t>-56</a:t>
                      </a:r>
                    </a:p>
                  </a:txBody>
                  <a:tcPr marL="12700" marR="12700" marT="12700" marB="0" anchor="ctr">
                    <a:lnL>
                      <a:noFill/>
                    </a:lnL>
                    <a:lnR w="6350" cap="flat" cmpd="sng" algn="ctr">
                      <a:solidFill>
                        <a:srgbClr val="000000"/>
                      </a:solidFill>
                      <a:prstDash val="solid"/>
                      <a:round/>
                      <a:headEnd type="none" w="med" len="med"/>
                      <a:tailEnd type="none" w="med" len="med"/>
                    </a:lnR>
                    <a:lnT>
                      <a:noFill/>
                    </a:lnT>
                    <a:lnB>
                      <a:noFill/>
                    </a:lnB>
                    <a:solidFill>
                      <a:srgbClr val="DCE6F1"/>
                    </a:solidFill>
                  </a:tcPr>
                </a:tc>
              </a:tr>
              <a:tr h="226179">
                <a:tc>
                  <a:txBody>
                    <a:bodyPr/>
                    <a:lstStyle/>
                    <a:p>
                      <a:pPr lvl="1" algn="l" fontAlgn="b"/>
                      <a:r>
                        <a:rPr lang="es-ES_tradnl" sz="1400" b="0" i="1" u="none" strike="noStrike" dirty="0">
                          <a:solidFill>
                            <a:srgbClr val="000000"/>
                          </a:solidFill>
                          <a:effectLst/>
                          <a:latin typeface="Calibri"/>
                        </a:rPr>
                        <a:t>Unión Europea</a:t>
                      </a:r>
                    </a:p>
                  </a:txBody>
                  <a:tcPr marL="152400" marR="12700" marT="12700" marB="0" anchor="ctr">
                    <a:lnL w="6350" cap="flat" cmpd="sng" algn="ctr">
                      <a:solidFill>
                        <a:srgbClr val="000000"/>
                      </a:solidFill>
                      <a:prstDash val="solid"/>
                      <a:round/>
                      <a:headEnd type="none" w="med" len="med"/>
                      <a:tailEnd type="none" w="med" len="med"/>
                    </a:lnL>
                    <a:lnR>
                      <a:noFill/>
                    </a:lnR>
                    <a:lnT>
                      <a:noFill/>
                    </a:lnT>
                    <a:lnB>
                      <a:noFill/>
                    </a:lnB>
                    <a:solidFill>
                      <a:schemeClr val="bg1"/>
                    </a:solidFill>
                  </a:tcPr>
                </a:tc>
                <a:tc>
                  <a:txBody>
                    <a:bodyPr/>
                    <a:lstStyle/>
                    <a:p>
                      <a:pPr algn="ctr" fontAlgn="b"/>
                      <a:r>
                        <a:rPr lang="es-ES" sz="1400" b="0" i="0" u="none" strike="noStrike" dirty="0">
                          <a:solidFill>
                            <a:srgbClr val="000000"/>
                          </a:solidFill>
                          <a:effectLst/>
                          <a:latin typeface="Calibri"/>
                        </a:rPr>
                        <a:t>287</a:t>
                      </a:r>
                    </a:p>
                  </a:txBody>
                  <a:tcPr marL="12700" marR="12700" marT="12700" marB="0" anchor="ctr">
                    <a:lnL>
                      <a:noFill/>
                    </a:lnL>
                    <a:lnR>
                      <a:noFill/>
                    </a:lnR>
                    <a:lnT>
                      <a:noFill/>
                    </a:lnT>
                    <a:lnB>
                      <a:noFill/>
                    </a:lnB>
                    <a:solidFill>
                      <a:schemeClr val="bg1"/>
                    </a:solidFill>
                  </a:tcPr>
                </a:tc>
                <a:tc>
                  <a:txBody>
                    <a:bodyPr/>
                    <a:lstStyle/>
                    <a:p>
                      <a:pPr algn="ctr" fontAlgn="b"/>
                      <a:r>
                        <a:rPr lang="es-ES" sz="1400" b="0" i="0" u="none" strike="noStrike" dirty="0">
                          <a:solidFill>
                            <a:srgbClr val="000000"/>
                          </a:solidFill>
                          <a:effectLst/>
                          <a:latin typeface="Calibri"/>
                        </a:rPr>
                        <a:t>-35</a:t>
                      </a:r>
                    </a:p>
                  </a:txBody>
                  <a:tcPr marL="12700" marR="12700" marT="12700" marB="0" anchor="ctr">
                    <a:lnL>
                      <a:noFill/>
                    </a:lnL>
                    <a:lnR>
                      <a:noFill/>
                    </a:lnR>
                    <a:lnT>
                      <a:noFill/>
                    </a:lnT>
                    <a:lnB>
                      <a:noFill/>
                    </a:lnB>
                    <a:solidFill>
                      <a:schemeClr val="bg1"/>
                    </a:solidFill>
                  </a:tcPr>
                </a:tc>
                <a:tc>
                  <a:txBody>
                    <a:bodyPr/>
                    <a:lstStyle/>
                    <a:p>
                      <a:pPr algn="ctr" fontAlgn="b"/>
                      <a:r>
                        <a:rPr lang="es-ES" sz="1400" b="0" i="0" u="none" strike="noStrike" dirty="0">
                          <a:solidFill>
                            <a:srgbClr val="000000"/>
                          </a:solidFill>
                          <a:effectLst/>
                          <a:latin typeface="Calibri"/>
                        </a:rPr>
                        <a:t>117</a:t>
                      </a:r>
                    </a:p>
                  </a:txBody>
                  <a:tcPr marL="12700" marR="12700" marT="12700" marB="0" anchor="ctr">
                    <a:lnL>
                      <a:noFill/>
                    </a:lnL>
                    <a:lnR>
                      <a:noFill/>
                    </a:lnR>
                    <a:lnT>
                      <a:noFill/>
                    </a:lnT>
                    <a:lnB>
                      <a:noFill/>
                    </a:lnB>
                    <a:solidFill>
                      <a:schemeClr val="bg1"/>
                    </a:solidFill>
                  </a:tcPr>
                </a:tc>
                <a:tc>
                  <a:txBody>
                    <a:bodyPr/>
                    <a:lstStyle/>
                    <a:p>
                      <a:pPr algn="ctr" fontAlgn="b"/>
                      <a:r>
                        <a:rPr lang="es-ES" sz="1400" b="0" i="0" u="none" strike="noStrike" dirty="0">
                          <a:solidFill>
                            <a:srgbClr val="000000"/>
                          </a:solidFill>
                          <a:effectLst/>
                          <a:latin typeface="Calibri"/>
                        </a:rPr>
                        <a:t>-99</a:t>
                      </a:r>
                    </a:p>
                  </a:txBody>
                  <a:tcPr marL="12700" marR="12700" marT="12700" marB="0" anchor="ctr">
                    <a:lnL>
                      <a:noFill/>
                    </a:lnL>
                    <a:lnR w="6350" cap="flat" cmpd="sng" algn="ctr">
                      <a:solidFill>
                        <a:srgbClr val="000000"/>
                      </a:solidFill>
                      <a:prstDash val="solid"/>
                      <a:round/>
                      <a:headEnd type="none" w="med" len="med"/>
                      <a:tailEnd type="none" w="med" len="med"/>
                    </a:lnR>
                    <a:lnT>
                      <a:noFill/>
                    </a:lnT>
                    <a:lnB>
                      <a:noFill/>
                    </a:lnB>
                    <a:solidFill>
                      <a:schemeClr val="bg1"/>
                    </a:solidFill>
                  </a:tcPr>
                </a:tc>
              </a:tr>
              <a:tr h="226179">
                <a:tc>
                  <a:txBody>
                    <a:bodyPr/>
                    <a:lstStyle/>
                    <a:p>
                      <a:pPr lvl="1" algn="l" fontAlgn="b"/>
                      <a:r>
                        <a:rPr lang="pt-BR" sz="1400" b="0" i="1" u="none" strike="noStrike" dirty="0">
                          <a:solidFill>
                            <a:srgbClr val="000000"/>
                          </a:solidFill>
                          <a:effectLst/>
                          <a:latin typeface="Calibri"/>
                        </a:rPr>
                        <a:t>Estados Unidos</a:t>
                      </a:r>
                    </a:p>
                  </a:txBody>
                  <a:tcPr marL="152400" marR="12700" marT="12700" marB="0" anchor="ctr">
                    <a:lnL w="6350" cap="flat" cmpd="sng" algn="ctr">
                      <a:solidFill>
                        <a:srgbClr val="000000"/>
                      </a:solidFill>
                      <a:prstDash val="solid"/>
                      <a:round/>
                      <a:headEnd type="none" w="med" len="med"/>
                      <a:tailEnd type="none" w="med" len="med"/>
                    </a:lnL>
                    <a:lnR>
                      <a:noFill/>
                    </a:lnR>
                    <a:lnT>
                      <a:noFill/>
                    </a:lnT>
                    <a:lnB>
                      <a:noFill/>
                    </a:lnB>
                    <a:solidFill>
                      <a:schemeClr val="bg1"/>
                    </a:solidFill>
                  </a:tcPr>
                </a:tc>
                <a:tc>
                  <a:txBody>
                    <a:bodyPr/>
                    <a:lstStyle/>
                    <a:p>
                      <a:pPr algn="ctr" fontAlgn="b"/>
                      <a:r>
                        <a:rPr lang="es-ES" sz="1400" b="0" i="0" u="none" strike="noStrike" dirty="0">
                          <a:solidFill>
                            <a:srgbClr val="000000"/>
                          </a:solidFill>
                          <a:effectLst/>
                          <a:latin typeface="Calibri"/>
                        </a:rPr>
                        <a:t>147</a:t>
                      </a:r>
                    </a:p>
                  </a:txBody>
                  <a:tcPr marL="12700" marR="12700" marT="12700" marB="0" anchor="ctr">
                    <a:lnL>
                      <a:noFill/>
                    </a:lnL>
                    <a:lnR>
                      <a:noFill/>
                    </a:lnR>
                    <a:lnT>
                      <a:noFill/>
                    </a:lnT>
                    <a:lnB>
                      <a:noFill/>
                    </a:lnB>
                    <a:solidFill>
                      <a:schemeClr val="bg1"/>
                    </a:solidFill>
                  </a:tcPr>
                </a:tc>
                <a:tc>
                  <a:txBody>
                    <a:bodyPr/>
                    <a:lstStyle/>
                    <a:p>
                      <a:pPr algn="ctr" fontAlgn="b"/>
                      <a:r>
                        <a:rPr lang="es-ES" sz="1400" b="0" i="0" u="none" strike="noStrike">
                          <a:solidFill>
                            <a:srgbClr val="000000"/>
                          </a:solidFill>
                          <a:effectLst/>
                          <a:latin typeface="Calibri"/>
                        </a:rPr>
                        <a:t>-35</a:t>
                      </a:r>
                    </a:p>
                  </a:txBody>
                  <a:tcPr marL="12700" marR="12700" marT="12700" marB="0" anchor="ctr">
                    <a:lnL>
                      <a:noFill/>
                    </a:lnL>
                    <a:lnR>
                      <a:noFill/>
                    </a:lnR>
                    <a:lnT>
                      <a:noFill/>
                    </a:lnT>
                    <a:lnB>
                      <a:noFill/>
                    </a:lnB>
                    <a:solidFill>
                      <a:schemeClr val="bg1"/>
                    </a:solidFill>
                  </a:tcPr>
                </a:tc>
                <a:tc>
                  <a:txBody>
                    <a:bodyPr/>
                    <a:lstStyle/>
                    <a:p>
                      <a:pPr algn="ctr" fontAlgn="b"/>
                      <a:r>
                        <a:rPr lang="es-ES" sz="1400" b="0" i="0" u="none" strike="noStrike" dirty="0">
                          <a:solidFill>
                            <a:srgbClr val="000000"/>
                          </a:solidFill>
                          <a:effectLst/>
                          <a:latin typeface="Calibri"/>
                        </a:rPr>
                        <a:t>130</a:t>
                      </a:r>
                    </a:p>
                  </a:txBody>
                  <a:tcPr marL="12700" marR="12700" marT="12700" marB="0" anchor="ctr">
                    <a:lnL>
                      <a:noFill/>
                    </a:lnL>
                    <a:lnR>
                      <a:noFill/>
                    </a:lnR>
                    <a:lnT>
                      <a:noFill/>
                    </a:lnT>
                    <a:lnB>
                      <a:noFill/>
                    </a:lnB>
                    <a:solidFill>
                      <a:schemeClr val="bg1"/>
                    </a:solidFill>
                  </a:tcPr>
                </a:tc>
                <a:tc>
                  <a:txBody>
                    <a:bodyPr/>
                    <a:lstStyle/>
                    <a:p>
                      <a:pPr algn="ctr" fontAlgn="b"/>
                      <a:r>
                        <a:rPr lang="es-ES" sz="1400" b="0" i="0" u="none" strike="noStrike" dirty="0">
                          <a:solidFill>
                            <a:srgbClr val="000000"/>
                          </a:solidFill>
                          <a:effectLst/>
                          <a:latin typeface="Calibri"/>
                        </a:rPr>
                        <a:t>-40</a:t>
                      </a:r>
                    </a:p>
                  </a:txBody>
                  <a:tcPr marL="12700" marR="12700" marT="12700" marB="0" anchor="ctr">
                    <a:lnL>
                      <a:noFill/>
                    </a:lnL>
                    <a:lnR w="6350" cap="flat" cmpd="sng" algn="ctr">
                      <a:solidFill>
                        <a:srgbClr val="000000"/>
                      </a:solidFill>
                      <a:prstDash val="solid"/>
                      <a:round/>
                      <a:headEnd type="none" w="med" len="med"/>
                      <a:tailEnd type="none" w="med" len="med"/>
                    </a:lnR>
                    <a:lnT>
                      <a:noFill/>
                    </a:lnT>
                    <a:lnB>
                      <a:noFill/>
                    </a:lnB>
                    <a:solidFill>
                      <a:schemeClr val="bg1"/>
                    </a:solidFill>
                  </a:tcPr>
                </a:tc>
              </a:tr>
              <a:tr h="226179">
                <a:tc>
                  <a:txBody>
                    <a:bodyPr/>
                    <a:lstStyle/>
                    <a:p>
                      <a:pPr lvl="1" algn="l" fontAlgn="b"/>
                      <a:r>
                        <a:rPr lang="es-ES_tradnl" sz="1400" b="1" i="0" u="none" strike="noStrike" dirty="0">
                          <a:solidFill>
                            <a:srgbClr val="000000"/>
                          </a:solidFill>
                          <a:effectLst/>
                          <a:latin typeface="Calibri"/>
                        </a:rPr>
                        <a:t>Europa sudoriental y Comunidad de Estados Independientes</a:t>
                      </a:r>
                    </a:p>
                  </a:txBody>
                  <a:tcPr marL="12700" marR="12700" marT="12700" marB="0" anchor="ctr">
                    <a:lnL w="6350" cap="flat" cmpd="sng" algn="ctr">
                      <a:solidFill>
                        <a:srgbClr val="000000"/>
                      </a:solidFill>
                      <a:prstDash val="solid"/>
                      <a:round/>
                      <a:headEnd type="none" w="med" len="med"/>
                      <a:tailEnd type="none" w="med" len="med"/>
                    </a:lnL>
                    <a:lnR>
                      <a:noFill/>
                    </a:lnR>
                    <a:lnT>
                      <a:noFill/>
                    </a:lnT>
                    <a:lnB>
                      <a:noFill/>
                    </a:lnB>
                    <a:solidFill>
                      <a:srgbClr val="DCE6F1"/>
                    </a:solidFill>
                  </a:tcPr>
                </a:tc>
                <a:tc>
                  <a:txBody>
                    <a:bodyPr/>
                    <a:lstStyle/>
                    <a:p>
                      <a:pPr algn="ctr" fontAlgn="b"/>
                      <a:r>
                        <a:rPr lang="es-ES" sz="1400" b="1" i="0" u="none" strike="noStrike" dirty="0">
                          <a:solidFill>
                            <a:srgbClr val="000000"/>
                          </a:solidFill>
                          <a:effectLst/>
                          <a:latin typeface="Calibri"/>
                        </a:rPr>
                        <a:t>81</a:t>
                      </a:r>
                    </a:p>
                  </a:txBody>
                  <a:tcPr marL="12700" marR="12700" marT="12700" marB="0" anchor="ctr">
                    <a:lnL>
                      <a:noFill/>
                    </a:lnL>
                    <a:lnR>
                      <a:noFill/>
                    </a:lnR>
                    <a:lnT>
                      <a:noFill/>
                    </a:lnT>
                    <a:lnB>
                      <a:noFill/>
                    </a:lnB>
                    <a:solidFill>
                      <a:srgbClr val="DCE6F1"/>
                    </a:solidFill>
                  </a:tcPr>
                </a:tc>
                <a:tc>
                  <a:txBody>
                    <a:bodyPr/>
                    <a:lstStyle/>
                    <a:p>
                      <a:pPr algn="ctr" fontAlgn="b"/>
                      <a:r>
                        <a:rPr lang="es-ES" sz="1400" b="1" i="0" u="none" strike="noStrike" dirty="0">
                          <a:solidFill>
                            <a:srgbClr val="000000"/>
                          </a:solidFill>
                          <a:effectLst/>
                          <a:latin typeface="Calibri"/>
                        </a:rPr>
                        <a:t>-13</a:t>
                      </a:r>
                    </a:p>
                  </a:txBody>
                  <a:tcPr marL="12700" marR="12700" marT="12700" marB="0" anchor="ctr">
                    <a:lnL>
                      <a:noFill/>
                    </a:lnL>
                    <a:lnR>
                      <a:noFill/>
                    </a:lnR>
                    <a:lnT>
                      <a:noFill/>
                    </a:lnT>
                    <a:lnB>
                      <a:noFill/>
                    </a:lnB>
                    <a:solidFill>
                      <a:srgbClr val="DCE6F1"/>
                    </a:solidFill>
                  </a:tcPr>
                </a:tc>
                <a:tc>
                  <a:txBody>
                    <a:bodyPr/>
                    <a:lstStyle/>
                    <a:p>
                      <a:pPr algn="ctr" fontAlgn="b"/>
                      <a:r>
                        <a:rPr lang="es-ES" sz="1400" b="1" i="0" u="none" strike="noStrike">
                          <a:solidFill>
                            <a:srgbClr val="000000"/>
                          </a:solidFill>
                          <a:effectLst/>
                          <a:latin typeface="Calibri"/>
                        </a:rPr>
                        <a:t>14</a:t>
                      </a:r>
                    </a:p>
                  </a:txBody>
                  <a:tcPr marL="12700" marR="12700" marT="12700" marB="0" anchor="ctr">
                    <a:lnL>
                      <a:noFill/>
                    </a:lnL>
                    <a:lnR>
                      <a:noFill/>
                    </a:lnR>
                    <a:lnT>
                      <a:noFill/>
                    </a:lnT>
                    <a:lnB>
                      <a:noFill/>
                    </a:lnB>
                    <a:solidFill>
                      <a:srgbClr val="DCE6F1"/>
                    </a:solidFill>
                  </a:tcPr>
                </a:tc>
                <a:tc>
                  <a:txBody>
                    <a:bodyPr/>
                    <a:lstStyle/>
                    <a:p>
                      <a:pPr algn="ctr" fontAlgn="b"/>
                      <a:r>
                        <a:rPr lang="es-ES" sz="1400" b="1" i="0" u="none" strike="noStrike" dirty="0">
                          <a:solidFill>
                            <a:srgbClr val="000000"/>
                          </a:solidFill>
                          <a:effectLst/>
                          <a:latin typeface="Calibri"/>
                        </a:rPr>
                        <a:t>-36</a:t>
                      </a:r>
                    </a:p>
                  </a:txBody>
                  <a:tcPr marL="12700" marR="12700" marT="12700" marB="0" anchor="ctr">
                    <a:lnL>
                      <a:noFill/>
                    </a:lnL>
                    <a:lnR w="6350" cap="flat" cmpd="sng" algn="ctr">
                      <a:solidFill>
                        <a:srgbClr val="000000"/>
                      </a:solidFill>
                      <a:prstDash val="solid"/>
                      <a:round/>
                      <a:headEnd type="none" w="med" len="med"/>
                      <a:tailEnd type="none" w="med" len="med"/>
                    </a:lnR>
                    <a:lnT>
                      <a:noFill/>
                    </a:lnT>
                    <a:lnB>
                      <a:noFill/>
                    </a:lnB>
                    <a:solidFill>
                      <a:srgbClr val="DCE6F1"/>
                    </a:solidFill>
                  </a:tcPr>
                </a:tc>
              </a:tr>
              <a:tr h="226179">
                <a:tc>
                  <a:txBody>
                    <a:bodyPr/>
                    <a:lstStyle/>
                    <a:p>
                      <a:pPr lvl="1" algn="l" fontAlgn="b"/>
                      <a:r>
                        <a:rPr lang="es-ES_tradnl" sz="1400" b="1" i="0" u="none" strike="noStrike" dirty="0">
                          <a:solidFill>
                            <a:srgbClr val="000000"/>
                          </a:solidFill>
                          <a:effectLst/>
                          <a:latin typeface="Calibri"/>
                        </a:rPr>
                        <a:t>Economías en desarrollo </a:t>
                      </a:r>
                    </a:p>
                  </a:txBody>
                  <a:tcPr marL="12700" marR="12700" marT="12700" marB="0" anchor="ctr">
                    <a:lnL w="6350" cap="flat" cmpd="sng" algn="ctr">
                      <a:solidFill>
                        <a:srgbClr val="000000"/>
                      </a:solidFill>
                      <a:prstDash val="solid"/>
                      <a:round/>
                      <a:headEnd type="none" w="med" len="med"/>
                      <a:tailEnd type="none" w="med" len="med"/>
                    </a:lnL>
                    <a:lnR>
                      <a:noFill/>
                    </a:lnR>
                    <a:lnT>
                      <a:noFill/>
                    </a:lnT>
                    <a:lnB>
                      <a:noFill/>
                    </a:lnB>
                    <a:solidFill>
                      <a:srgbClr val="DCE6F1"/>
                    </a:solidFill>
                  </a:tcPr>
                </a:tc>
                <a:tc>
                  <a:txBody>
                    <a:bodyPr/>
                    <a:lstStyle/>
                    <a:p>
                      <a:pPr algn="ctr" fontAlgn="b"/>
                      <a:r>
                        <a:rPr lang="es-ES" sz="1400" b="1" i="0" u="none" strike="noStrike">
                          <a:solidFill>
                            <a:srgbClr val="000000"/>
                          </a:solidFill>
                          <a:effectLst/>
                          <a:latin typeface="Calibri"/>
                        </a:rPr>
                        <a:t>680</a:t>
                      </a:r>
                    </a:p>
                  </a:txBody>
                  <a:tcPr marL="12700" marR="12700" marT="12700" marB="0" anchor="ctr">
                    <a:lnL>
                      <a:noFill/>
                    </a:lnL>
                    <a:lnR>
                      <a:noFill/>
                    </a:lnR>
                    <a:lnT>
                      <a:noFill/>
                    </a:lnT>
                    <a:lnB>
                      <a:noFill/>
                    </a:lnB>
                    <a:solidFill>
                      <a:srgbClr val="DCE6F1"/>
                    </a:solidFill>
                  </a:tcPr>
                </a:tc>
                <a:tc>
                  <a:txBody>
                    <a:bodyPr/>
                    <a:lstStyle/>
                    <a:p>
                      <a:pPr algn="ctr" fontAlgn="b"/>
                      <a:r>
                        <a:rPr lang="es-ES" sz="1400" b="1" i="0" u="none" strike="noStrike" dirty="0">
                          <a:solidFill>
                            <a:srgbClr val="000000"/>
                          </a:solidFill>
                          <a:effectLst/>
                          <a:latin typeface="Calibri"/>
                        </a:rPr>
                        <a:t>-3</a:t>
                      </a:r>
                    </a:p>
                  </a:txBody>
                  <a:tcPr marL="12700" marR="12700" marT="12700" marB="0" anchor="ctr">
                    <a:lnL>
                      <a:noFill/>
                    </a:lnL>
                    <a:lnR>
                      <a:noFill/>
                    </a:lnR>
                    <a:lnT>
                      <a:noFill/>
                    </a:lnT>
                    <a:lnB>
                      <a:noFill/>
                    </a:lnB>
                    <a:solidFill>
                      <a:srgbClr val="DCE6F1"/>
                    </a:solidFill>
                  </a:tcPr>
                </a:tc>
                <a:tc>
                  <a:txBody>
                    <a:bodyPr/>
                    <a:lstStyle/>
                    <a:p>
                      <a:pPr algn="ctr" fontAlgn="b"/>
                      <a:r>
                        <a:rPr lang="es-ES" sz="1400" b="1" i="0" u="none" strike="noStrike">
                          <a:solidFill>
                            <a:srgbClr val="000000"/>
                          </a:solidFill>
                          <a:effectLst/>
                          <a:latin typeface="Calibri"/>
                        </a:rPr>
                        <a:t>104</a:t>
                      </a:r>
                    </a:p>
                  </a:txBody>
                  <a:tcPr marL="12700" marR="12700" marT="12700" marB="0" anchor="ctr">
                    <a:lnL>
                      <a:noFill/>
                    </a:lnL>
                    <a:lnR>
                      <a:noFill/>
                    </a:lnR>
                    <a:lnT>
                      <a:noFill/>
                    </a:lnT>
                    <a:lnB>
                      <a:noFill/>
                    </a:lnB>
                    <a:solidFill>
                      <a:srgbClr val="DCE6F1"/>
                    </a:solidFill>
                  </a:tcPr>
                </a:tc>
                <a:tc>
                  <a:txBody>
                    <a:bodyPr/>
                    <a:lstStyle/>
                    <a:p>
                      <a:pPr algn="ctr" fontAlgn="b"/>
                      <a:r>
                        <a:rPr lang="es-ES" sz="1400" b="1" i="0" u="none" strike="noStrike" dirty="0">
                          <a:solidFill>
                            <a:srgbClr val="000000"/>
                          </a:solidFill>
                          <a:effectLst/>
                          <a:latin typeface="Calibri"/>
                        </a:rPr>
                        <a:t>10</a:t>
                      </a:r>
                    </a:p>
                  </a:txBody>
                  <a:tcPr marL="12700" marR="12700" marT="12700" marB="0" anchor="ctr">
                    <a:lnL>
                      <a:noFill/>
                    </a:lnL>
                    <a:lnR w="6350" cap="flat" cmpd="sng" algn="ctr">
                      <a:solidFill>
                        <a:srgbClr val="000000"/>
                      </a:solidFill>
                      <a:prstDash val="solid"/>
                      <a:round/>
                      <a:headEnd type="none" w="med" len="med"/>
                      <a:tailEnd type="none" w="med" len="med"/>
                    </a:lnR>
                    <a:lnT>
                      <a:noFill/>
                    </a:lnT>
                    <a:lnB>
                      <a:noFill/>
                    </a:lnB>
                    <a:solidFill>
                      <a:srgbClr val="DCE6F1"/>
                    </a:solidFill>
                  </a:tcPr>
                </a:tc>
              </a:tr>
              <a:tr h="226179">
                <a:tc>
                  <a:txBody>
                    <a:bodyPr/>
                    <a:lstStyle/>
                    <a:p>
                      <a:pPr lvl="1" algn="l" fontAlgn="b"/>
                      <a:r>
                        <a:rPr lang="es-ES_tradnl" sz="1400" b="0" i="1" u="none" strike="noStrike" dirty="0">
                          <a:solidFill>
                            <a:srgbClr val="000000"/>
                          </a:solidFill>
                          <a:effectLst/>
                          <a:latin typeface="Calibri"/>
                        </a:rPr>
                        <a:t>América Latina y el Caribe</a:t>
                      </a:r>
                    </a:p>
                  </a:txBody>
                  <a:tcPr marL="152400" marR="12700" marT="12700" marB="0" anchor="ctr">
                    <a:lnL w="6350" cap="flat" cmpd="sng" algn="ctr">
                      <a:solidFill>
                        <a:srgbClr val="000000"/>
                      </a:solidFill>
                      <a:prstDash val="solid"/>
                      <a:round/>
                      <a:headEnd type="none" w="med" len="med"/>
                      <a:tailEnd type="none" w="med" len="med"/>
                    </a:lnL>
                    <a:lnR>
                      <a:noFill/>
                    </a:lnR>
                    <a:lnT>
                      <a:noFill/>
                    </a:lnT>
                    <a:lnB>
                      <a:noFill/>
                    </a:lnB>
                    <a:solidFill>
                      <a:schemeClr val="bg1"/>
                    </a:solidFill>
                  </a:tcPr>
                </a:tc>
                <a:tc>
                  <a:txBody>
                    <a:bodyPr/>
                    <a:lstStyle/>
                    <a:p>
                      <a:pPr algn="ctr" fontAlgn="b"/>
                      <a:r>
                        <a:rPr lang="es-ES" sz="1400" b="0" i="0" u="none" strike="noStrike">
                          <a:solidFill>
                            <a:srgbClr val="000000"/>
                          </a:solidFill>
                          <a:effectLst/>
                          <a:latin typeface="Calibri"/>
                        </a:rPr>
                        <a:t>170</a:t>
                      </a:r>
                    </a:p>
                  </a:txBody>
                  <a:tcPr marL="12700" marR="12700" marT="12700" marB="0" anchor="ctr">
                    <a:lnL>
                      <a:noFill/>
                    </a:lnL>
                    <a:lnR>
                      <a:noFill/>
                    </a:lnR>
                    <a:lnT>
                      <a:noFill/>
                    </a:lnT>
                    <a:lnB>
                      <a:noFill/>
                    </a:lnB>
                    <a:solidFill>
                      <a:schemeClr val="bg1"/>
                    </a:solidFill>
                  </a:tcPr>
                </a:tc>
                <a:tc>
                  <a:txBody>
                    <a:bodyPr/>
                    <a:lstStyle/>
                    <a:p>
                      <a:pPr algn="ctr" fontAlgn="b"/>
                      <a:r>
                        <a:rPr lang="es-ES" sz="1400" b="0" i="0" u="none" strike="noStrike" dirty="0">
                          <a:solidFill>
                            <a:srgbClr val="000000"/>
                          </a:solidFill>
                          <a:effectLst/>
                          <a:latin typeface="Calibri"/>
                        </a:rPr>
                        <a:t>3</a:t>
                      </a:r>
                    </a:p>
                  </a:txBody>
                  <a:tcPr marL="12700" marR="12700" marT="12700" marB="0" anchor="ctr">
                    <a:lnL>
                      <a:noFill/>
                    </a:lnL>
                    <a:lnR>
                      <a:noFill/>
                    </a:lnR>
                    <a:lnT>
                      <a:noFill/>
                    </a:lnT>
                    <a:lnB>
                      <a:noFill/>
                    </a:lnB>
                    <a:solidFill>
                      <a:schemeClr val="bg1"/>
                    </a:solidFill>
                  </a:tcPr>
                </a:tc>
                <a:tc>
                  <a:txBody>
                    <a:bodyPr/>
                    <a:lstStyle/>
                    <a:p>
                      <a:pPr algn="ctr" fontAlgn="b"/>
                      <a:r>
                        <a:rPr lang="es-ES" sz="1400" b="0" i="0" u="none" strike="noStrike" dirty="0">
                          <a:solidFill>
                            <a:srgbClr val="000000"/>
                          </a:solidFill>
                          <a:effectLst/>
                          <a:latin typeface="Calibri"/>
                        </a:rPr>
                        <a:t>19</a:t>
                      </a:r>
                    </a:p>
                  </a:txBody>
                  <a:tcPr marL="12700" marR="12700" marT="12700" marB="0" anchor="ctr">
                    <a:lnL>
                      <a:noFill/>
                    </a:lnL>
                    <a:lnR>
                      <a:noFill/>
                    </a:lnR>
                    <a:lnT>
                      <a:noFill/>
                    </a:lnT>
                    <a:lnB>
                      <a:noFill/>
                    </a:lnB>
                    <a:solidFill>
                      <a:schemeClr val="bg1"/>
                    </a:solidFill>
                  </a:tcPr>
                </a:tc>
                <a:tc>
                  <a:txBody>
                    <a:bodyPr/>
                    <a:lstStyle/>
                    <a:p>
                      <a:pPr algn="ctr" fontAlgn="b"/>
                      <a:r>
                        <a:rPr lang="es-ES" sz="1400" b="1" i="0" u="none" strike="noStrike" dirty="0">
                          <a:solidFill>
                            <a:srgbClr val="000000"/>
                          </a:solidFill>
                          <a:effectLst/>
                          <a:latin typeface="Calibri"/>
                        </a:rPr>
                        <a:t>51</a:t>
                      </a:r>
                    </a:p>
                  </a:txBody>
                  <a:tcPr marL="12700" marR="12700" marT="12700" marB="0" anchor="ctr">
                    <a:lnL>
                      <a:noFill/>
                    </a:lnL>
                    <a:lnR w="6350" cap="flat" cmpd="sng" algn="ctr">
                      <a:solidFill>
                        <a:srgbClr val="000000"/>
                      </a:solidFill>
                      <a:prstDash val="solid"/>
                      <a:round/>
                      <a:headEnd type="none" w="med" len="med"/>
                      <a:tailEnd type="none" w="med" len="med"/>
                    </a:lnR>
                    <a:lnT>
                      <a:noFill/>
                    </a:lnT>
                    <a:lnB>
                      <a:noFill/>
                    </a:lnB>
                    <a:solidFill>
                      <a:schemeClr val="bg1"/>
                    </a:solidFill>
                  </a:tcPr>
                </a:tc>
              </a:tr>
              <a:tr h="226179">
                <a:tc>
                  <a:txBody>
                    <a:bodyPr/>
                    <a:lstStyle/>
                    <a:p>
                      <a:pPr lvl="2" algn="l" fontAlgn="b"/>
                      <a:r>
                        <a:rPr lang="es-ES_tradnl" sz="1400" b="0" i="1" u="none" strike="noStrike" dirty="0" smtClean="0">
                          <a:solidFill>
                            <a:srgbClr val="000000"/>
                          </a:solidFill>
                          <a:effectLst>
                            <a:outerShdw blurRad="38100" dist="38100" dir="2700000" algn="tl">
                              <a:srgbClr val="000000">
                                <a:alpha val="43137"/>
                              </a:srgbClr>
                            </a:outerShdw>
                          </a:effectLst>
                          <a:latin typeface="Calibri"/>
                        </a:rPr>
                        <a:t>PERÚ</a:t>
                      </a:r>
                      <a:endParaRPr lang="es-ES_tradnl" sz="1400" b="0" i="1" u="none" strike="noStrike" dirty="0">
                        <a:solidFill>
                          <a:srgbClr val="000000"/>
                        </a:solidFill>
                        <a:effectLst>
                          <a:outerShdw blurRad="38100" dist="38100" dir="2700000" algn="tl">
                            <a:srgbClr val="000000">
                              <a:alpha val="43137"/>
                            </a:srgbClr>
                          </a:outerShdw>
                        </a:effectLst>
                        <a:latin typeface="Calibri"/>
                      </a:endParaRPr>
                    </a:p>
                  </a:txBody>
                  <a:tcPr marL="152400" marR="12700" marT="12700" marB="0" anchor="ctr">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s-ES" sz="1400" b="0" i="0" u="none" strike="noStrike" dirty="0" smtClean="0">
                          <a:solidFill>
                            <a:srgbClr val="000000"/>
                          </a:solidFill>
                          <a:effectLst>
                            <a:outerShdw blurRad="38100" dist="38100" dir="2700000" algn="tl">
                              <a:srgbClr val="000000">
                                <a:alpha val="43137"/>
                              </a:srgbClr>
                            </a:outerShdw>
                          </a:effectLst>
                          <a:latin typeface="Calibri"/>
                        </a:rPr>
                        <a:t>12</a:t>
                      </a:r>
                      <a:endParaRPr lang="es-ES" sz="1400" b="0" i="0" u="none" strike="noStrike" dirty="0">
                        <a:solidFill>
                          <a:srgbClr val="000000"/>
                        </a:solidFill>
                        <a:effectLst>
                          <a:outerShdw blurRad="38100" dist="38100" dir="2700000" algn="tl">
                            <a:srgbClr val="000000">
                              <a:alpha val="43137"/>
                            </a:srgbClr>
                          </a:outerShdw>
                        </a:effectLst>
                        <a:latin typeface="Calibri"/>
                      </a:endParaRP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s-ES" sz="1400" b="0" i="0" u="none" strike="noStrike" dirty="0" smtClean="0">
                          <a:solidFill>
                            <a:srgbClr val="000000"/>
                          </a:solidFill>
                          <a:effectLst>
                            <a:outerShdw blurRad="38100" dist="38100" dir="2700000" algn="tl">
                              <a:srgbClr val="000000">
                                <a:alpha val="43137"/>
                              </a:srgbClr>
                            </a:outerShdw>
                          </a:effectLst>
                          <a:latin typeface="Calibri"/>
                        </a:rPr>
                        <a:t>49</a:t>
                      </a:r>
                      <a:endParaRPr lang="es-ES" sz="1400" b="0" i="0" u="none" strike="noStrike" dirty="0">
                        <a:solidFill>
                          <a:srgbClr val="000000"/>
                        </a:solidFill>
                        <a:effectLst>
                          <a:outerShdw blurRad="38100" dist="38100" dir="2700000" algn="tl">
                            <a:srgbClr val="000000">
                              <a:alpha val="43137"/>
                            </a:srgbClr>
                          </a:outerShdw>
                        </a:effectLst>
                        <a:latin typeface="Calibri"/>
                      </a:endParaRP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s-ES" sz="1400" b="0" i="0" u="none" strike="noStrike" dirty="0" smtClean="0">
                          <a:solidFill>
                            <a:srgbClr val="000000"/>
                          </a:solidFill>
                          <a:effectLst>
                            <a:outerShdw blurRad="38100" dist="38100" dir="2700000" algn="tl">
                              <a:srgbClr val="000000">
                                <a:alpha val="43137"/>
                              </a:srgbClr>
                            </a:outerShdw>
                          </a:effectLst>
                          <a:latin typeface="Calibri"/>
                        </a:rPr>
                        <a:t>-</a:t>
                      </a:r>
                      <a:endParaRPr lang="es-ES" sz="1400" b="0" i="0" u="none" strike="noStrike" dirty="0">
                        <a:solidFill>
                          <a:srgbClr val="000000"/>
                        </a:solidFill>
                        <a:effectLst>
                          <a:outerShdw blurRad="38100" dist="38100" dir="2700000" algn="tl">
                            <a:srgbClr val="000000">
                              <a:alpha val="43137"/>
                            </a:srgbClr>
                          </a:outerShdw>
                        </a:effectLst>
                        <a:latin typeface="Calibri"/>
                      </a:endParaRP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s-ES" sz="1400" b="1" i="0" u="none" strike="noStrike" dirty="0" smtClean="0">
                          <a:solidFill>
                            <a:srgbClr val="000000"/>
                          </a:solidFill>
                          <a:effectLst>
                            <a:outerShdw blurRad="38100" dist="38100" dir="2700000" algn="tl">
                              <a:srgbClr val="000000">
                                <a:alpha val="43137"/>
                              </a:srgbClr>
                            </a:outerShdw>
                          </a:effectLst>
                          <a:latin typeface="Calibri"/>
                        </a:rPr>
                        <a:t>-</a:t>
                      </a:r>
                      <a:endParaRPr lang="es-ES" sz="1400" b="1" i="0" u="none" strike="noStrike" dirty="0">
                        <a:solidFill>
                          <a:srgbClr val="000000"/>
                        </a:solidFill>
                        <a:effectLst>
                          <a:outerShdw blurRad="38100" dist="38100" dir="2700000" algn="tl">
                            <a:srgbClr val="000000">
                              <a:alpha val="43137"/>
                            </a:srgbClr>
                          </a:outerShdw>
                        </a:effectLst>
                        <a:latin typeface="Calibri"/>
                      </a:endParaRPr>
                    </a:p>
                  </a:txBody>
                  <a:tcPr marL="12700" marR="12700" marT="12700" marB="0" anchor="ctr">
                    <a:lnL>
                      <a:noFill/>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7" name="Rectángulo 6"/>
          <p:cNvSpPr/>
          <p:nvPr/>
        </p:nvSpPr>
        <p:spPr>
          <a:xfrm>
            <a:off x="1319349" y="4923765"/>
            <a:ext cx="3252651" cy="307777"/>
          </a:xfrm>
          <a:prstGeom prst="rect">
            <a:avLst/>
          </a:prstGeom>
        </p:spPr>
        <p:txBody>
          <a:bodyPr wrap="none">
            <a:spAutoFit/>
          </a:bodyPr>
          <a:lstStyle/>
          <a:p>
            <a:r>
              <a:rPr lang="es-PE" sz="1400" dirty="0" smtClean="0"/>
              <a:t>Fuente: </a:t>
            </a:r>
            <a:r>
              <a:rPr lang="es-ES" sz="1400" dirty="0" smtClean="0"/>
              <a:t>UNCTAD. Elaboración PROMPERÚ</a:t>
            </a:r>
            <a:endParaRPr lang="es-ES" sz="1400" dirty="0"/>
          </a:p>
        </p:txBody>
      </p:sp>
      <p:sp>
        <p:nvSpPr>
          <p:cNvPr id="8" name="Rectángulo 7"/>
          <p:cNvSpPr/>
          <p:nvPr/>
        </p:nvSpPr>
        <p:spPr>
          <a:xfrm>
            <a:off x="1115616" y="1445917"/>
            <a:ext cx="7128791" cy="338554"/>
          </a:xfrm>
          <a:prstGeom prst="rect">
            <a:avLst/>
          </a:prstGeom>
          <a:solidFill>
            <a:schemeClr val="bg1"/>
          </a:solidFill>
        </p:spPr>
        <p:txBody>
          <a:bodyPr wrap="square">
            <a:spAutoFit/>
          </a:bodyPr>
          <a:lstStyle/>
          <a:p>
            <a:pPr algn="ctr"/>
            <a:r>
              <a:rPr lang="es-PE" sz="1600" b="1" dirty="0" smtClean="0"/>
              <a:t>Inversión Extranjera Directa en el Mundo (US$ Miles de Millones)</a:t>
            </a:r>
            <a:endParaRPr lang="es-ES" sz="1600" dirty="0"/>
          </a:p>
        </p:txBody>
      </p:sp>
      <p:sp>
        <p:nvSpPr>
          <p:cNvPr id="2" name="1 Rectángulo"/>
          <p:cNvSpPr/>
          <p:nvPr/>
        </p:nvSpPr>
        <p:spPr>
          <a:xfrm>
            <a:off x="323528" y="5446965"/>
            <a:ext cx="8568952" cy="1077218"/>
          </a:xfrm>
          <a:prstGeom prst="rect">
            <a:avLst/>
          </a:prstGeom>
        </p:spPr>
        <p:txBody>
          <a:bodyPr wrap="square">
            <a:spAutoFit/>
          </a:bodyPr>
          <a:lstStyle/>
          <a:p>
            <a:pPr marL="171450" indent="-171450">
              <a:buFontTx/>
              <a:buChar char="-"/>
              <a:defRPr/>
            </a:pPr>
            <a:r>
              <a:rPr lang="es-PE" sz="1600" dirty="0"/>
              <a:t>Las IED seguirán destinándose en mayor medida a los servicios y manufacturas, y cada vez menos a las inversiones en recursos naturales. </a:t>
            </a:r>
            <a:endParaRPr lang="es-PE" sz="1600" dirty="0" smtClean="0"/>
          </a:p>
          <a:p>
            <a:pPr marL="171450" indent="-171450" algn="just">
              <a:buFontTx/>
              <a:buChar char="-"/>
              <a:defRPr/>
            </a:pPr>
            <a:r>
              <a:rPr lang="es-ES" sz="1600" dirty="0"/>
              <a:t>La rentabilidad </a:t>
            </a:r>
            <a:r>
              <a:rPr lang="es-ES" sz="1600" dirty="0" smtClean="0"/>
              <a:t>de </a:t>
            </a:r>
            <a:r>
              <a:rPr lang="es-ES" sz="1600" dirty="0"/>
              <a:t>las empresas transnacionales continuarán incrementándose aceleradamente, en especial en la zona de América Latina y el Caribe</a:t>
            </a:r>
            <a:r>
              <a:rPr lang="es-ES" sz="1600" dirty="0" smtClean="0"/>
              <a:t>.</a:t>
            </a:r>
            <a:endParaRPr lang="es-PE" sz="1600" dirty="0"/>
          </a:p>
        </p:txBody>
      </p:sp>
    </p:spTree>
    <p:extLst>
      <p:ext uri="{BB962C8B-B14F-4D97-AF65-F5344CB8AC3E}">
        <p14:creationId xmlns:p14="http://schemas.microsoft.com/office/powerpoint/2010/main" val="1425719853"/>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2564904"/>
            <a:ext cx="7931224" cy="1371600"/>
          </a:xfrm>
        </p:spPr>
        <p:txBody>
          <a:bodyPr>
            <a:normAutofit/>
          </a:bodyPr>
          <a:lstStyle/>
          <a:p>
            <a:r>
              <a:rPr lang="es-ES" sz="2800" dirty="0" err="1" smtClean="0"/>
              <a:t>iiI</a:t>
            </a:r>
            <a:r>
              <a:rPr lang="es-ES" sz="2800" dirty="0" smtClean="0"/>
              <a:t>.	</a:t>
            </a:r>
            <a:r>
              <a:rPr lang="es-ES" sz="2800" dirty="0" smtClean="0">
                <a:solidFill>
                  <a:schemeClr val="tx1"/>
                </a:solidFill>
              </a:rPr>
              <a:t>TAREA DEL ESTADO</a:t>
            </a:r>
            <a:endParaRPr lang="es-ES" sz="2800" dirty="0">
              <a:solidFill>
                <a:schemeClr val="tx1"/>
              </a:solidFill>
            </a:endParaRPr>
          </a:p>
        </p:txBody>
      </p:sp>
    </p:spTree>
    <p:extLst>
      <p:ext uri="{BB962C8B-B14F-4D97-AF65-F5344CB8AC3E}">
        <p14:creationId xmlns:p14="http://schemas.microsoft.com/office/powerpoint/2010/main" val="566228508"/>
      </p:ext>
    </p:extLst>
  </p:cSld>
  <p:clrMapOvr>
    <a:masterClrMapping/>
  </p:clrMapOvr>
  <p:transition spd="slow">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369218" y="332656"/>
            <a:ext cx="3748142" cy="492443"/>
          </a:xfrm>
          <a:prstGeom prst="rect">
            <a:avLst/>
          </a:prstGeom>
        </p:spPr>
        <p:txBody>
          <a:bodyPr wrap="none">
            <a:spAutoFit/>
          </a:bodyPr>
          <a:lstStyle/>
          <a:p>
            <a:r>
              <a:rPr lang="es-PE" sz="2600" b="1" dirty="0" smtClean="0">
                <a:effectLst>
                  <a:outerShdw blurRad="38100" dist="38100" dir="2700000" algn="tl">
                    <a:srgbClr val="000000">
                      <a:alpha val="43137"/>
                    </a:srgbClr>
                  </a:outerShdw>
                </a:effectLst>
                <a:cs typeface="Arial" pitchFamily="34" charset="0"/>
              </a:rPr>
              <a:t>Acuerdos comerciales</a:t>
            </a:r>
            <a:endParaRPr lang="es-ES" sz="2600" dirty="0"/>
          </a:p>
        </p:txBody>
      </p:sp>
      <p:pic>
        <p:nvPicPr>
          <p:cNvPr id="9" name="Imagen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69218" y="1052736"/>
            <a:ext cx="8496943" cy="5256584"/>
          </a:xfrm>
          <a:prstGeom prst="rect">
            <a:avLst/>
          </a:prstGeom>
        </p:spPr>
      </p:pic>
    </p:spTree>
    <p:extLst>
      <p:ext uri="{BB962C8B-B14F-4D97-AF65-F5344CB8AC3E}">
        <p14:creationId xmlns:p14="http://schemas.microsoft.com/office/powerpoint/2010/main" val="3212268321"/>
      </p:ext>
    </p:extLst>
  </p:cSld>
  <p:clrMapOvr>
    <a:masterClrMapping/>
  </p:clrMapOvr>
  <p:transition spd="slow">
    <p:push di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15"/>
          <p:cNvPicPr>
            <a:picLocks noChangeAspect="1" noChangeArrowheads="1"/>
          </p:cNvPicPr>
          <p:nvPr/>
        </p:nvPicPr>
        <p:blipFill>
          <a:blip r:embed="rId3" cstate="print">
            <a:extLst>
              <a:ext uri="{28A0092B-C50C-407E-A947-70E740481C1C}">
                <a14:useLocalDpi xmlns:a14="http://schemas.microsoft.com/office/drawing/2010/main" val="0"/>
              </a:ext>
            </a:extLst>
          </a:blip>
          <a:srcRect b="72418"/>
          <a:stretch>
            <a:fillRect/>
          </a:stretch>
        </p:blipFill>
        <p:spPr bwMode="auto">
          <a:xfrm>
            <a:off x="1692520" y="1438275"/>
            <a:ext cx="5760426"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507" name="6 Grupo"/>
          <p:cNvGrpSpPr>
            <a:grpSpLocks/>
          </p:cNvGrpSpPr>
          <p:nvPr/>
        </p:nvGrpSpPr>
        <p:grpSpPr bwMode="auto">
          <a:xfrm>
            <a:off x="6233746" y="2590800"/>
            <a:ext cx="1579685" cy="3500438"/>
            <a:chOff x="5288372" y="0"/>
            <a:chExt cx="1710919" cy="3500462"/>
          </a:xfrm>
        </p:grpSpPr>
        <p:sp>
          <p:nvSpPr>
            <p:cNvPr id="8" name="7 Rectángulo redondeado"/>
            <p:cNvSpPr/>
            <p:nvPr/>
          </p:nvSpPr>
          <p:spPr>
            <a:xfrm>
              <a:off x="5288372" y="0"/>
              <a:ext cx="1710919" cy="350046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8 Rectángulo"/>
            <p:cNvSpPr/>
            <p:nvPr/>
          </p:nvSpPr>
          <p:spPr>
            <a:xfrm>
              <a:off x="5288372" y="1400185"/>
              <a:ext cx="1710919" cy="1400185"/>
            </a:xfrm>
            <a:prstGeom prst="rect">
              <a:avLst/>
            </a:prstGeom>
          </p:spPr>
          <p:style>
            <a:lnRef idx="0">
              <a:scrgbClr r="0" g="0" b="0"/>
            </a:lnRef>
            <a:fillRef idx="0">
              <a:scrgbClr r="0" g="0" b="0"/>
            </a:fillRef>
            <a:effectRef idx="0">
              <a:scrgbClr r="0" g="0" b="0"/>
            </a:effectRef>
            <a:fontRef idx="minor">
              <a:schemeClr val="lt1"/>
            </a:fontRef>
          </p:style>
          <p:txBody>
            <a:bodyPr lIns="135128" tIns="135128" rIns="135128" bIns="135128" spcCol="1270" anchor="ctr"/>
            <a:lstStyle/>
            <a:p>
              <a:pPr algn="ctr" defTabSz="844550">
                <a:lnSpc>
                  <a:spcPct val="90000"/>
                </a:lnSpc>
                <a:spcAft>
                  <a:spcPct val="35000"/>
                </a:spcAft>
                <a:defRPr/>
              </a:pPr>
              <a:endParaRPr lang="es-MX" sz="1600" dirty="0"/>
            </a:p>
            <a:p>
              <a:pPr algn="ctr" defTabSz="844550">
                <a:lnSpc>
                  <a:spcPct val="90000"/>
                </a:lnSpc>
                <a:spcAft>
                  <a:spcPct val="35000"/>
                </a:spcAft>
                <a:defRPr/>
              </a:pPr>
              <a:r>
                <a:rPr lang="es-MX" sz="1900" dirty="0"/>
                <a:t>4.     Desarrollo de Cultura Exportadora</a:t>
              </a:r>
              <a:endParaRPr lang="es-ES" sz="1900" dirty="0"/>
            </a:p>
          </p:txBody>
        </p:sp>
      </p:grpSp>
      <p:grpSp>
        <p:nvGrpSpPr>
          <p:cNvPr id="21508" name="9 Grupo"/>
          <p:cNvGrpSpPr>
            <a:grpSpLocks/>
          </p:cNvGrpSpPr>
          <p:nvPr/>
        </p:nvGrpSpPr>
        <p:grpSpPr bwMode="auto">
          <a:xfrm>
            <a:off x="1346689" y="2590800"/>
            <a:ext cx="1579685" cy="3500438"/>
            <a:chOff x="1632" y="0"/>
            <a:chExt cx="1710919" cy="3500462"/>
          </a:xfrm>
        </p:grpSpPr>
        <p:sp>
          <p:nvSpPr>
            <p:cNvPr id="11" name="10 Rectángulo redondeado"/>
            <p:cNvSpPr/>
            <p:nvPr/>
          </p:nvSpPr>
          <p:spPr>
            <a:xfrm>
              <a:off x="1632" y="0"/>
              <a:ext cx="1710919" cy="350046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11 Rectángulo"/>
            <p:cNvSpPr/>
            <p:nvPr/>
          </p:nvSpPr>
          <p:spPr>
            <a:xfrm>
              <a:off x="1632" y="1400185"/>
              <a:ext cx="1710919" cy="1400185"/>
            </a:xfrm>
            <a:prstGeom prst="rect">
              <a:avLst/>
            </a:prstGeom>
          </p:spPr>
          <p:style>
            <a:lnRef idx="0">
              <a:scrgbClr r="0" g="0" b="0"/>
            </a:lnRef>
            <a:fillRef idx="0">
              <a:scrgbClr r="0" g="0" b="0"/>
            </a:fillRef>
            <a:effectRef idx="0">
              <a:scrgbClr r="0" g="0" b="0"/>
            </a:effectRef>
            <a:fontRef idx="minor">
              <a:schemeClr val="lt1"/>
            </a:fontRef>
          </p:style>
          <p:txBody>
            <a:bodyPr lIns="135128" tIns="135128" rIns="135128" bIns="135128" spcCol="1270" anchor="ctr"/>
            <a:lstStyle/>
            <a:p>
              <a:pPr algn="ctr" defTabSz="844550">
                <a:lnSpc>
                  <a:spcPct val="90000"/>
                </a:lnSpc>
                <a:spcAft>
                  <a:spcPct val="35000"/>
                </a:spcAft>
                <a:defRPr/>
              </a:pPr>
              <a:r>
                <a:rPr lang="es-MX" sz="1900" dirty="0"/>
                <a:t>1. Diversificación de mercados</a:t>
              </a:r>
              <a:endParaRPr lang="es-ES" sz="1900" dirty="0"/>
            </a:p>
          </p:txBody>
        </p:sp>
      </p:grpSp>
      <p:grpSp>
        <p:nvGrpSpPr>
          <p:cNvPr id="21509" name="13 Grupo"/>
          <p:cNvGrpSpPr>
            <a:grpSpLocks/>
          </p:cNvGrpSpPr>
          <p:nvPr/>
        </p:nvGrpSpPr>
        <p:grpSpPr bwMode="auto">
          <a:xfrm>
            <a:off x="2973266" y="2590800"/>
            <a:ext cx="1579685" cy="3500438"/>
            <a:chOff x="1763879" y="0"/>
            <a:chExt cx="1710919" cy="3500462"/>
          </a:xfrm>
        </p:grpSpPr>
        <p:sp>
          <p:nvSpPr>
            <p:cNvPr id="15" name="14 Rectángulo redondeado"/>
            <p:cNvSpPr/>
            <p:nvPr/>
          </p:nvSpPr>
          <p:spPr>
            <a:xfrm>
              <a:off x="1763879" y="0"/>
              <a:ext cx="1710919" cy="350046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15 Rectángulo"/>
            <p:cNvSpPr/>
            <p:nvPr/>
          </p:nvSpPr>
          <p:spPr>
            <a:xfrm>
              <a:off x="1763879" y="1400185"/>
              <a:ext cx="1710919" cy="1400185"/>
            </a:xfrm>
            <a:prstGeom prst="rect">
              <a:avLst/>
            </a:prstGeom>
          </p:spPr>
          <p:style>
            <a:lnRef idx="0">
              <a:scrgbClr r="0" g="0" b="0"/>
            </a:lnRef>
            <a:fillRef idx="0">
              <a:scrgbClr r="0" g="0" b="0"/>
            </a:fillRef>
            <a:effectRef idx="0">
              <a:scrgbClr r="0" g="0" b="0"/>
            </a:effectRef>
            <a:fontRef idx="minor">
              <a:schemeClr val="lt1"/>
            </a:fontRef>
          </p:style>
          <p:txBody>
            <a:bodyPr lIns="135128" tIns="135128" rIns="135128" bIns="135128" spcCol="1270" anchor="ctr"/>
            <a:lstStyle/>
            <a:p>
              <a:pPr algn="ctr" defTabSz="844550">
                <a:lnSpc>
                  <a:spcPct val="90000"/>
                </a:lnSpc>
                <a:spcAft>
                  <a:spcPct val="35000"/>
                </a:spcAft>
                <a:defRPr/>
              </a:pPr>
              <a:endParaRPr lang="es-MX" sz="1900" dirty="0"/>
            </a:p>
            <a:p>
              <a:pPr algn="ctr" defTabSz="844550">
                <a:lnSpc>
                  <a:spcPct val="90000"/>
                </a:lnSpc>
                <a:spcAft>
                  <a:spcPct val="35000"/>
                </a:spcAft>
                <a:defRPr/>
              </a:pPr>
              <a:endParaRPr lang="es-MX" sz="1200" dirty="0"/>
            </a:p>
            <a:p>
              <a:pPr algn="ctr" defTabSz="844550">
                <a:lnSpc>
                  <a:spcPct val="90000"/>
                </a:lnSpc>
                <a:spcAft>
                  <a:spcPct val="35000"/>
                </a:spcAft>
                <a:defRPr/>
              </a:pPr>
              <a:r>
                <a:rPr lang="es-MX" sz="1900" dirty="0"/>
                <a:t>2.    Promoción y Desarrollo de Oferta exportable</a:t>
              </a:r>
              <a:endParaRPr lang="es-ES" sz="1900" dirty="0"/>
            </a:p>
          </p:txBody>
        </p:sp>
      </p:grpSp>
      <p:sp>
        <p:nvSpPr>
          <p:cNvPr id="17" name="16 Elipse"/>
          <p:cNvSpPr/>
          <p:nvPr/>
        </p:nvSpPr>
        <p:spPr>
          <a:xfrm>
            <a:off x="1598736" y="2816226"/>
            <a:ext cx="1075592" cy="1165225"/>
          </a:xfrm>
          <a:prstGeom prst="ellipse">
            <a:avLst/>
          </a:prstGeom>
          <a:blipFill rotWithShape="0">
            <a:blip r:embed="rId4"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21511" name="17 Grupo"/>
          <p:cNvGrpSpPr>
            <a:grpSpLocks/>
          </p:cNvGrpSpPr>
          <p:nvPr/>
        </p:nvGrpSpPr>
        <p:grpSpPr bwMode="auto">
          <a:xfrm>
            <a:off x="4599843" y="2590800"/>
            <a:ext cx="1579685" cy="3500438"/>
            <a:chOff x="3526125" y="0"/>
            <a:chExt cx="1710919" cy="3500462"/>
          </a:xfrm>
        </p:grpSpPr>
        <p:sp>
          <p:nvSpPr>
            <p:cNvPr id="19" name="18 Rectángulo redondeado"/>
            <p:cNvSpPr/>
            <p:nvPr/>
          </p:nvSpPr>
          <p:spPr>
            <a:xfrm>
              <a:off x="3526125" y="0"/>
              <a:ext cx="1710919" cy="350046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19 Rectángulo"/>
            <p:cNvSpPr/>
            <p:nvPr/>
          </p:nvSpPr>
          <p:spPr>
            <a:xfrm>
              <a:off x="3526125" y="1400185"/>
              <a:ext cx="1710919" cy="1400185"/>
            </a:xfrm>
            <a:prstGeom prst="rect">
              <a:avLst/>
            </a:prstGeom>
          </p:spPr>
          <p:style>
            <a:lnRef idx="0">
              <a:scrgbClr r="0" g="0" b="0"/>
            </a:lnRef>
            <a:fillRef idx="0">
              <a:scrgbClr r="0" g="0" b="0"/>
            </a:fillRef>
            <a:effectRef idx="0">
              <a:scrgbClr r="0" g="0" b="0"/>
            </a:effectRef>
            <a:fontRef idx="minor">
              <a:schemeClr val="lt1"/>
            </a:fontRef>
          </p:style>
          <p:txBody>
            <a:bodyPr lIns="135128" tIns="135128" rIns="135128" bIns="135128" spcCol="1270" anchor="ctr"/>
            <a:lstStyle/>
            <a:p>
              <a:pPr algn="ctr" defTabSz="844550">
                <a:lnSpc>
                  <a:spcPct val="90000"/>
                </a:lnSpc>
                <a:spcAft>
                  <a:spcPct val="35000"/>
                </a:spcAft>
                <a:defRPr/>
              </a:pPr>
              <a:endParaRPr lang="es-MX" sz="700" dirty="0"/>
            </a:p>
            <a:p>
              <a:pPr algn="ctr" defTabSz="844550">
                <a:lnSpc>
                  <a:spcPct val="90000"/>
                </a:lnSpc>
                <a:spcAft>
                  <a:spcPct val="35000"/>
                </a:spcAft>
                <a:defRPr/>
              </a:pPr>
              <a:r>
                <a:rPr lang="es-MX" sz="1900" dirty="0"/>
                <a:t>3.    Facilitación de Comercio</a:t>
              </a:r>
              <a:endParaRPr lang="es-ES" sz="1900" dirty="0"/>
            </a:p>
          </p:txBody>
        </p:sp>
      </p:grpSp>
      <p:sp>
        <p:nvSpPr>
          <p:cNvPr id="21" name="20 Elipse"/>
          <p:cNvSpPr/>
          <p:nvPr/>
        </p:nvSpPr>
        <p:spPr>
          <a:xfrm>
            <a:off x="4851890" y="2816226"/>
            <a:ext cx="1075592" cy="1165225"/>
          </a:xfrm>
          <a:prstGeom prst="ellipse">
            <a:avLst/>
          </a:prstGeom>
          <a:blipFill rotWithShape="0">
            <a:blip r:embed="rId5"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21 Elipse"/>
          <p:cNvSpPr/>
          <p:nvPr/>
        </p:nvSpPr>
        <p:spPr>
          <a:xfrm>
            <a:off x="6478466" y="2816226"/>
            <a:ext cx="1075592" cy="1165225"/>
          </a:xfrm>
          <a:prstGeom prst="ellipse">
            <a:avLst/>
          </a:prstGeom>
          <a:blipFill rotWithShape="0">
            <a:blip r:embed="rId6"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12 Elipse"/>
          <p:cNvSpPr/>
          <p:nvPr/>
        </p:nvSpPr>
        <p:spPr>
          <a:xfrm>
            <a:off x="3225313" y="2816226"/>
            <a:ext cx="1075592" cy="1165225"/>
          </a:xfrm>
          <a:prstGeom prst="ellipse">
            <a:avLst/>
          </a:prstGeom>
          <a:blipFill rotWithShape="0">
            <a:blip r:embed="rId7"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1 Título"/>
          <p:cNvSpPr txBox="1">
            <a:spLocks/>
          </p:cNvSpPr>
          <p:nvPr/>
        </p:nvSpPr>
        <p:spPr bwMode="auto">
          <a:xfrm>
            <a:off x="1403648" y="889556"/>
            <a:ext cx="6480720" cy="523220"/>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r>
              <a:rPr lang="es-MX" sz="2800" b="1" dirty="0" smtClean="0">
                <a:latin typeface="+mn-lt"/>
              </a:rPr>
              <a:t>Enfoque Promocional</a:t>
            </a:r>
            <a:endParaRPr lang="es-MX" sz="2800" b="1" dirty="0">
              <a:latin typeface="+mn-lt"/>
            </a:endParaRPr>
          </a:p>
        </p:txBody>
      </p:sp>
      <p:sp>
        <p:nvSpPr>
          <p:cNvPr id="24" name="1 Título"/>
          <p:cNvSpPr>
            <a:spLocks noGrp="1"/>
          </p:cNvSpPr>
          <p:nvPr>
            <p:ph type="title"/>
          </p:nvPr>
        </p:nvSpPr>
        <p:spPr>
          <a:xfrm>
            <a:off x="457200" y="152718"/>
            <a:ext cx="7931224" cy="756002"/>
          </a:xfrm>
        </p:spPr>
        <p:txBody>
          <a:bodyPr>
            <a:normAutofit/>
          </a:bodyPr>
          <a:lstStyle/>
          <a:p>
            <a:r>
              <a:rPr lang="es-ES" sz="2800" dirty="0" err="1" smtClean="0"/>
              <a:t>iiI</a:t>
            </a:r>
            <a:r>
              <a:rPr lang="es-ES" sz="2800" dirty="0" smtClean="0"/>
              <a:t>.	</a:t>
            </a:r>
            <a:r>
              <a:rPr lang="es-ES" sz="2800" dirty="0" smtClean="0">
                <a:solidFill>
                  <a:schemeClr val="tx1"/>
                </a:solidFill>
              </a:rPr>
              <a:t>TAREA DEL ESTADO</a:t>
            </a:r>
            <a:endParaRPr lang="es-ES" sz="2800" dirty="0">
              <a:solidFill>
                <a:schemeClr val="tx1"/>
              </a:solidFill>
            </a:endParaRPr>
          </a:p>
        </p:txBody>
      </p:sp>
    </p:spTree>
    <p:extLst>
      <p:ext uri="{BB962C8B-B14F-4D97-AF65-F5344CB8AC3E}">
        <p14:creationId xmlns:p14="http://schemas.microsoft.com/office/powerpoint/2010/main" val="3664154455"/>
      </p:ext>
    </p:extLst>
  </p:cSld>
  <p:clrMapOvr>
    <a:masterClrMapping/>
  </p:clrMapOvr>
  <p:transition spd="slow">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1 Grupo"/>
          <p:cNvGrpSpPr/>
          <p:nvPr/>
        </p:nvGrpSpPr>
        <p:grpSpPr>
          <a:xfrm>
            <a:off x="107504" y="1241546"/>
            <a:ext cx="8880683" cy="4902098"/>
            <a:chOff x="107504" y="1241546"/>
            <a:chExt cx="8880683" cy="4013742"/>
          </a:xfrm>
        </p:grpSpPr>
        <p:pic>
          <p:nvPicPr>
            <p:cNvPr id="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099" t="28398" r="7986" b="23064"/>
            <a:stretch/>
          </p:blipFill>
          <p:spPr bwMode="auto">
            <a:xfrm>
              <a:off x="107504" y="1241546"/>
              <a:ext cx="8880683" cy="4013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099" t="76851" r="7986" b="11188"/>
            <a:stretch/>
          </p:blipFill>
          <p:spPr bwMode="auto">
            <a:xfrm>
              <a:off x="2212400" y="4653136"/>
              <a:ext cx="5250431" cy="584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 name="5 CuadroTexto"/>
          <p:cNvSpPr txBox="1">
            <a:spLocks noChangeArrowheads="1"/>
          </p:cNvSpPr>
          <p:nvPr/>
        </p:nvSpPr>
        <p:spPr bwMode="auto">
          <a:xfrm>
            <a:off x="15875" y="188640"/>
            <a:ext cx="87709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s-ES" sz="2400" b="1" dirty="0" smtClean="0">
                <a:solidFill>
                  <a:srgbClr val="000000"/>
                </a:solidFill>
                <a:latin typeface="Bree Peru Regular"/>
              </a:rPr>
              <a:t>Oficinas Comerciales en el Exterior</a:t>
            </a:r>
            <a:endParaRPr lang="es-ES" sz="2400" b="1" dirty="0">
              <a:solidFill>
                <a:srgbClr val="000000"/>
              </a:solidFill>
              <a:latin typeface="Bree Peru Regular"/>
            </a:endParaRPr>
          </a:p>
        </p:txBody>
      </p:sp>
    </p:spTree>
    <p:extLst>
      <p:ext uri="{BB962C8B-B14F-4D97-AF65-F5344CB8AC3E}">
        <p14:creationId xmlns:p14="http://schemas.microsoft.com/office/powerpoint/2010/main" val="112231074"/>
      </p:ext>
    </p:extLst>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152718"/>
            <a:ext cx="8147248" cy="1371600"/>
          </a:xfrm>
        </p:spPr>
        <p:txBody>
          <a:bodyPr/>
          <a:lstStyle/>
          <a:p>
            <a:pPr algn="ctr"/>
            <a:r>
              <a:rPr lang="es-ES" dirty="0" smtClean="0"/>
              <a:t>AGENDA</a:t>
            </a:r>
            <a:endParaRPr lang="es-ES" dirty="0"/>
          </a:p>
        </p:txBody>
      </p:sp>
      <p:sp>
        <p:nvSpPr>
          <p:cNvPr id="3" name="2 Marcador de contenido"/>
          <p:cNvSpPr>
            <a:spLocks noGrp="1"/>
          </p:cNvSpPr>
          <p:nvPr>
            <p:ph idx="1"/>
          </p:nvPr>
        </p:nvSpPr>
        <p:spPr>
          <a:xfrm>
            <a:off x="755576" y="2348880"/>
            <a:ext cx="7321624" cy="3777283"/>
          </a:xfrm>
        </p:spPr>
        <p:txBody>
          <a:bodyPr>
            <a:normAutofit/>
          </a:bodyPr>
          <a:lstStyle/>
          <a:p>
            <a:pPr marL="514350" indent="-514350">
              <a:buClr>
                <a:schemeClr val="tx2"/>
              </a:buClr>
              <a:buFont typeface="+mj-lt"/>
              <a:buAutoNum type="romanUcPeriod"/>
            </a:pPr>
            <a:r>
              <a:rPr lang="es-ES" sz="2800" b="0" dirty="0" smtClean="0"/>
              <a:t>CONDICIONES DEL ENTORNO</a:t>
            </a:r>
          </a:p>
          <a:p>
            <a:pPr marL="514350" indent="-514350">
              <a:buClr>
                <a:schemeClr val="tx2"/>
              </a:buClr>
              <a:buFont typeface="+mj-lt"/>
              <a:buAutoNum type="romanUcPeriod"/>
            </a:pPr>
            <a:r>
              <a:rPr lang="es-ES" sz="2800" b="0" dirty="0" smtClean="0"/>
              <a:t>PERU: EVOLUCION EXPORTADORA</a:t>
            </a:r>
          </a:p>
          <a:p>
            <a:pPr marL="514350" indent="-514350">
              <a:buClr>
                <a:schemeClr val="tx2"/>
              </a:buClr>
              <a:buFont typeface="+mj-lt"/>
              <a:buAutoNum type="romanUcPeriod"/>
            </a:pPr>
            <a:r>
              <a:rPr lang="es-ES" sz="2800" b="0" dirty="0" smtClean="0"/>
              <a:t>TAREA DEL ESTADO</a:t>
            </a:r>
          </a:p>
          <a:p>
            <a:pPr marL="514350" indent="-514350">
              <a:buClr>
                <a:schemeClr val="tx2"/>
              </a:buClr>
              <a:buFont typeface="+mj-lt"/>
              <a:buAutoNum type="romanUcPeriod"/>
            </a:pPr>
            <a:r>
              <a:rPr lang="es-ES" sz="2800" b="0" dirty="0" smtClean="0"/>
              <a:t>DESAFIOS DE LA EMPRESA PERUANA</a:t>
            </a:r>
            <a:endParaRPr lang="es-ES" sz="2800" b="0" dirty="0"/>
          </a:p>
        </p:txBody>
      </p:sp>
    </p:spTree>
    <p:extLst>
      <p:ext uri="{BB962C8B-B14F-4D97-AF65-F5344CB8AC3E}">
        <p14:creationId xmlns:p14="http://schemas.microsoft.com/office/powerpoint/2010/main" val="330983421"/>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0 CuadroTexto"/>
          <p:cNvSpPr txBox="1">
            <a:spLocks noChangeArrowheads="1"/>
          </p:cNvSpPr>
          <p:nvPr/>
        </p:nvSpPr>
        <p:spPr bwMode="auto">
          <a:xfrm>
            <a:off x="1115616" y="673532"/>
            <a:ext cx="5940028" cy="523220"/>
          </a:xfrm>
          <a:prstGeom prst="rect">
            <a:avLst/>
          </a:prstGeom>
          <a:noFill/>
          <a:ln w="9525">
            <a:noFill/>
            <a:miter lim="800000"/>
            <a:headEnd/>
            <a:tailEnd/>
          </a:ln>
        </p:spPr>
        <p:txBody>
          <a:bodyPr wrap="square">
            <a:spAutoFit/>
          </a:bodyPr>
          <a:lstStyle/>
          <a:p>
            <a:pPr fontAlgn="base">
              <a:spcBef>
                <a:spcPct val="0"/>
              </a:spcBef>
              <a:spcAft>
                <a:spcPct val="0"/>
              </a:spcAft>
            </a:pPr>
            <a:r>
              <a:rPr lang="es-ES" sz="2800" b="1" dirty="0" smtClean="0">
                <a:solidFill>
                  <a:srgbClr val="000000"/>
                </a:solidFill>
                <a:latin typeface="Arial" charset="0"/>
              </a:rPr>
              <a:t>Infraestructura</a:t>
            </a:r>
            <a:endParaRPr lang="es-ES" sz="2800" b="1" dirty="0">
              <a:solidFill>
                <a:srgbClr val="000000"/>
              </a:solidFill>
              <a:latin typeface="Arial" charset="0"/>
            </a:endParaRPr>
          </a:p>
        </p:txBody>
      </p:sp>
      <p:pic>
        <p:nvPicPr>
          <p:cNvPr id="4" name="Picture 2" descr="http://1.bp.blogspot.com/_JzSqd6YaCaY/SmFoNyha9UI/AAAAAAAAFKA/KVvy3Ls2bLU/s400/Rendy.jpg">
            <a:hlinkClick r:id="rId2"/>
          </p:cNvPr>
          <p:cNvPicPr>
            <a:picLocks noChangeAspect="1" noChangeArrowheads="1"/>
          </p:cNvPicPr>
          <p:nvPr/>
        </p:nvPicPr>
        <p:blipFill>
          <a:blip r:embed="rId3" cstate="print"/>
          <a:srcRect/>
          <a:stretch>
            <a:fillRect/>
          </a:stretch>
        </p:blipFill>
        <p:spPr bwMode="auto">
          <a:xfrm>
            <a:off x="690563" y="1770658"/>
            <a:ext cx="3810000" cy="2571750"/>
          </a:xfrm>
          <a:prstGeom prst="rect">
            <a:avLst/>
          </a:prstGeom>
          <a:no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5" name="Picture 4" descr="http://1.bp.blogspot.com/_JzSqd6YaCaY/S49Thnxt27I/AAAAAAAAHho/-cwyGXASIPs/s400/Rendy.jpg">
            <a:hlinkClick r:id="rId4"/>
          </p:cNvPr>
          <p:cNvPicPr>
            <a:picLocks noChangeAspect="1" noChangeArrowheads="1"/>
          </p:cNvPicPr>
          <p:nvPr/>
        </p:nvPicPr>
        <p:blipFill>
          <a:blip r:embed="rId5" cstate="print"/>
          <a:srcRect/>
          <a:stretch>
            <a:fillRect/>
          </a:stretch>
        </p:blipFill>
        <p:spPr bwMode="auto">
          <a:xfrm>
            <a:off x="4865688" y="1700808"/>
            <a:ext cx="3810000" cy="2857500"/>
          </a:xfrm>
          <a:prstGeom prst="rect">
            <a:avLst/>
          </a:prstGeom>
          <a:no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6" name="4 CuadroTexto"/>
          <p:cNvSpPr txBox="1">
            <a:spLocks noChangeArrowheads="1"/>
          </p:cNvSpPr>
          <p:nvPr/>
        </p:nvSpPr>
        <p:spPr bwMode="auto">
          <a:xfrm>
            <a:off x="900113" y="4701183"/>
            <a:ext cx="2879725" cy="400050"/>
          </a:xfrm>
          <a:prstGeom prst="rect">
            <a:avLst/>
          </a:prstGeom>
          <a:noFill/>
          <a:ln w="9525">
            <a:noFill/>
            <a:miter lim="800000"/>
            <a:headEnd/>
            <a:tailEnd/>
          </a:ln>
        </p:spPr>
        <p:txBody>
          <a:bodyPr>
            <a:spAutoFit/>
          </a:bodyPr>
          <a:lstStyle/>
          <a:p>
            <a:pPr fontAlgn="base">
              <a:spcBef>
                <a:spcPct val="0"/>
              </a:spcBef>
              <a:spcAft>
                <a:spcPct val="0"/>
              </a:spcAft>
            </a:pPr>
            <a:r>
              <a:rPr lang="es-ES" sz="2000">
                <a:solidFill>
                  <a:srgbClr val="000000"/>
                </a:solidFill>
                <a:latin typeface="Arial" charset="0"/>
              </a:rPr>
              <a:t>Aerop. Jorge Chávez</a:t>
            </a:r>
          </a:p>
        </p:txBody>
      </p:sp>
      <p:sp>
        <p:nvSpPr>
          <p:cNvPr id="7" name="5 CuadroTexto"/>
          <p:cNvSpPr txBox="1">
            <a:spLocks noChangeArrowheads="1"/>
          </p:cNvSpPr>
          <p:nvPr/>
        </p:nvSpPr>
        <p:spPr bwMode="auto">
          <a:xfrm>
            <a:off x="5651500" y="4845645"/>
            <a:ext cx="2808288" cy="708025"/>
          </a:xfrm>
          <a:prstGeom prst="rect">
            <a:avLst/>
          </a:prstGeom>
          <a:noFill/>
          <a:ln w="9525">
            <a:noFill/>
            <a:miter lim="800000"/>
            <a:headEnd/>
            <a:tailEnd/>
          </a:ln>
        </p:spPr>
        <p:txBody>
          <a:bodyPr>
            <a:spAutoFit/>
          </a:bodyPr>
          <a:lstStyle/>
          <a:p>
            <a:pPr fontAlgn="base">
              <a:spcBef>
                <a:spcPct val="0"/>
              </a:spcBef>
              <a:spcAft>
                <a:spcPct val="0"/>
              </a:spcAft>
            </a:pPr>
            <a:r>
              <a:rPr lang="es-ES" sz="2000">
                <a:solidFill>
                  <a:srgbClr val="000000"/>
                </a:solidFill>
                <a:latin typeface="Arial" charset="0"/>
              </a:rPr>
              <a:t>Conj.Habitacional Santa Rosa</a:t>
            </a:r>
          </a:p>
        </p:txBody>
      </p:sp>
      <p:sp>
        <p:nvSpPr>
          <p:cNvPr id="8" name="1 Título"/>
          <p:cNvSpPr txBox="1">
            <a:spLocks/>
          </p:cNvSpPr>
          <p:nvPr/>
        </p:nvSpPr>
        <p:spPr>
          <a:xfrm>
            <a:off x="457200" y="152718"/>
            <a:ext cx="7931224" cy="1371600"/>
          </a:xfrm>
          <a:prstGeom prst="rect">
            <a:avLst/>
          </a:prstGeom>
        </p:spPr>
        <p:txBody>
          <a:bodyPr>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s-ES" sz="2800" b="1" kern="0" dirty="0" smtClean="0">
                <a:solidFill>
                  <a:srgbClr val="FF0000"/>
                </a:solidFill>
                <a:latin typeface="+mn-lt"/>
              </a:rPr>
              <a:t>III.</a:t>
            </a:r>
            <a:r>
              <a:rPr lang="es-ES" sz="2800" b="1" kern="0" dirty="0" smtClean="0">
                <a:latin typeface="+mn-lt"/>
              </a:rPr>
              <a:t>	</a:t>
            </a:r>
            <a:r>
              <a:rPr lang="es-ES" sz="2800" b="1" kern="0" dirty="0" smtClean="0">
                <a:solidFill>
                  <a:schemeClr val="tx1"/>
                </a:solidFill>
                <a:latin typeface="+mn-lt"/>
              </a:rPr>
              <a:t>TAREA DEL ESTADO</a:t>
            </a:r>
            <a:endParaRPr lang="es-ES" sz="2800" b="1" kern="0" dirty="0">
              <a:solidFill>
                <a:schemeClr val="tx1"/>
              </a:solidFill>
              <a:latin typeface="+mn-lt"/>
            </a:endParaRPr>
          </a:p>
        </p:txBody>
      </p:sp>
    </p:spTree>
    <p:extLst>
      <p:ext uri="{BB962C8B-B14F-4D97-AF65-F5344CB8AC3E}">
        <p14:creationId xmlns:p14="http://schemas.microsoft.com/office/powerpoint/2010/main" val="63807190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par>
                                <p:cTn id="8" presetID="3" presetClass="entr" presetSubtype="1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linds(horizontal)">
                                      <p:cBhvr>
                                        <p:cTn id="10" dur="500"/>
                                        <p:tgtEl>
                                          <p:spTgt spid="5"/>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linds(horizontal)">
                                      <p:cBhvr>
                                        <p:cTn id="13" dur="500"/>
                                        <p:tgtEl>
                                          <p:spTgt spid="6"/>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blinds(horizontal)">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6 Tabla"/>
          <p:cNvGraphicFramePr>
            <a:graphicFrameLocks noGrp="1"/>
          </p:cNvGraphicFramePr>
          <p:nvPr/>
        </p:nvGraphicFramePr>
        <p:xfrm>
          <a:off x="432289" y="1090613"/>
          <a:ext cx="8332176" cy="4626537"/>
        </p:xfrm>
        <a:graphic>
          <a:graphicData uri="http://schemas.openxmlformats.org/drawingml/2006/table">
            <a:tbl>
              <a:tblPr firstRow="1" bandRow="1">
                <a:tableStyleId>{F5AB1C69-6EDB-4FF4-983F-18BD219EF322}</a:tableStyleId>
              </a:tblPr>
              <a:tblGrid>
                <a:gridCol w="1534556"/>
                <a:gridCol w="3224815"/>
                <a:gridCol w="3572805"/>
              </a:tblGrid>
              <a:tr h="404755">
                <a:tc>
                  <a:txBody>
                    <a:bodyPr/>
                    <a:lstStyle/>
                    <a:p>
                      <a:pPr algn="ctr"/>
                      <a:r>
                        <a:rPr lang="es-PE" sz="1600" dirty="0" smtClean="0">
                          <a:solidFill>
                            <a:schemeClr val="bg1"/>
                          </a:solidFill>
                        </a:rPr>
                        <a:t>Actividades</a:t>
                      </a:r>
                      <a:endParaRPr lang="es-PE" sz="1600" dirty="0">
                        <a:solidFill>
                          <a:schemeClr val="bg1"/>
                        </a:solidFill>
                      </a:endParaRPr>
                    </a:p>
                  </a:txBody>
                  <a:tcPr marL="91434" marR="91434" marT="45723" marB="45723" anchor="ctr">
                    <a:solidFill>
                      <a:srgbClr val="C00000"/>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s-PE" sz="1600" dirty="0" smtClean="0">
                          <a:solidFill>
                            <a:schemeClr val="bg1"/>
                          </a:solidFill>
                        </a:rPr>
                        <a:t>En</a:t>
                      </a:r>
                      <a:r>
                        <a:rPr lang="es-PE" sz="1600" baseline="0" dirty="0" smtClean="0">
                          <a:solidFill>
                            <a:schemeClr val="bg1"/>
                          </a:solidFill>
                        </a:rPr>
                        <a:t> que consiste</a:t>
                      </a:r>
                      <a:r>
                        <a:rPr lang="es-PE" sz="1600" dirty="0" smtClean="0">
                          <a:solidFill>
                            <a:schemeClr val="bg1"/>
                          </a:solidFill>
                        </a:rPr>
                        <a:t>?</a:t>
                      </a:r>
                      <a:endParaRPr lang="es-PE" sz="1600" dirty="0">
                        <a:solidFill>
                          <a:schemeClr val="bg1"/>
                        </a:solidFill>
                      </a:endParaRPr>
                    </a:p>
                  </a:txBody>
                  <a:tcPr marL="91434" marR="91434" marT="45723" marB="45723" anchor="ctr">
                    <a:solidFill>
                      <a:srgbClr val="C00000"/>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s-PE" sz="1600" dirty="0" smtClean="0">
                          <a:solidFill>
                            <a:schemeClr val="bg1"/>
                          </a:solidFill>
                        </a:rPr>
                        <a:t>Resultados</a:t>
                      </a:r>
                      <a:endParaRPr lang="es-PE" sz="1600" dirty="0">
                        <a:solidFill>
                          <a:schemeClr val="bg1"/>
                        </a:solidFill>
                      </a:endParaRPr>
                    </a:p>
                  </a:txBody>
                  <a:tcPr marL="91434" marR="91434" marT="45723" marB="45723" anchor="ctr">
                    <a:solidFill>
                      <a:srgbClr val="C00000"/>
                    </a:solidFill>
                  </a:tcPr>
                </a:tc>
              </a:tr>
              <a:tr h="1222137">
                <a:tc>
                  <a:txBody>
                    <a:bodyPr/>
                    <a:lstStyle/>
                    <a:p>
                      <a:pPr algn="ctr"/>
                      <a:r>
                        <a:rPr lang="es-PE" sz="1300" dirty="0" smtClean="0"/>
                        <a:t>Gestión de riesgo en entidades de control como DIGESA, DIGEMID, SENASA y SANIPES</a:t>
                      </a:r>
                      <a:endParaRPr lang="es-PE" sz="1300" b="1" dirty="0"/>
                    </a:p>
                  </a:txBody>
                  <a:tcPr marL="91434" marR="91434" marT="45723" marB="45723" anchor="ctr"/>
                </a:tc>
                <a:tc>
                  <a:txBody>
                    <a:bodyPr/>
                    <a:lstStyle/>
                    <a:p>
                      <a:pPr marL="182563" marR="0" indent="-182563" algn="l"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dirty="0" smtClean="0">
                          <a:solidFill>
                            <a:schemeClr val="dk1"/>
                          </a:solidFill>
                          <a:latin typeface="+mn-lt"/>
                          <a:ea typeface="+mn-ea"/>
                          <a:cs typeface="+mn-cs"/>
                        </a:rPr>
                        <a:t>Homogenización de criterios de gestión de riesgo para  empresas (historial y patrones de comportamiento), y productos (trazabilidad, características, procesos productivos y control posterior).</a:t>
                      </a:r>
                    </a:p>
                  </a:txBody>
                  <a:tcPr marL="91434" marR="91434" marT="45723" marB="45723" anchor="ctr"/>
                </a:tc>
                <a:tc>
                  <a:txBody>
                    <a:bodyPr/>
                    <a:lstStyle/>
                    <a:p>
                      <a:pPr marL="285750" marR="0" indent="-285750" algn="just"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dirty="0" smtClean="0"/>
                        <a:t>Mayor predictibilidad</a:t>
                      </a:r>
                      <a:r>
                        <a:rPr lang="es-PE" sz="1300" kern="1200" baseline="0" dirty="0" smtClean="0"/>
                        <a:t> para el sector privado</a:t>
                      </a:r>
                    </a:p>
                    <a:p>
                      <a:pPr marL="285750" marR="0" indent="-285750" algn="just"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baseline="0" dirty="0" smtClean="0"/>
                        <a:t>Optimización de recursos del Estado</a:t>
                      </a:r>
                    </a:p>
                  </a:txBody>
                  <a:tcPr marL="91434" marR="91434" marT="45723" marB="45723" anchor="ctr"/>
                </a:tc>
              </a:tr>
              <a:tr h="100762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PE" sz="1300" dirty="0" smtClean="0"/>
                        <a:t>Herramientas para PYMES</a:t>
                      </a:r>
                      <a:endParaRPr lang="es-PE" sz="1300" b="1" dirty="0" smtClean="0"/>
                    </a:p>
                  </a:txBody>
                  <a:tcPr marL="91434" marR="91434" marT="45723" marB="45723" anchor="ctr"/>
                </a:tc>
                <a:tc>
                  <a:txBody>
                    <a:bodyPr/>
                    <a:lstStyle/>
                    <a:p>
                      <a:pPr marL="182563" marR="0" indent="-182563" algn="l"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dirty="0" smtClean="0"/>
                        <a:t> Herramienta para PYMES</a:t>
                      </a:r>
                      <a:r>
                        <a:rPr lang="es-PE" sz="1300" kern="1200" baseline="0" dirty="0" smtClean="0"/>
                        <a:t> exportadoras que faciliten la gestión de la cadena de suministros y documentos electrónicos</a:t>
                      </a:r>
                      <a:endParaRPr lang="es-PE" sz="1300" b="0" kern="1200" dirty="0" smtClean="0">
                        <a:solidFill>
                          <a:schemeClr val="dk1"/>
                        </a:solidFill>
                        <a:latin typeface="+mn-lt"/>
                        <a:ea typeface="+mn-ea"/>
                        <a:cs typeface="+mn-cs"/>
                      </a:endParaRPr>
                    </a:p>
                  </a:txBody>
                  <a:tcPr marL="91434" marR="91434" marT="45723" marB="45723" anchor="ctr"/>
                </a:tc>
                <a:tc>
                  <a:txBody>
                    <a:bodyPr/>
                    <a:lstStyle/>
                    <a:p>
                      <a:pPr marL="285750" marR="0" indent="-285750" algn="just"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dirty="0" smtClean="0"/>
                        <a:t>Reducir</a:t>
                      </a:r>
                      <a:r>
                        <a:rPr lang="es-PE" sz="1300" kern="1200" baseline="0" dirty="0" smtClean="0"/>
                        <a:t> </a:t>
                      </a:r>
                      <a:r>
                        <a:rPr lang="es-PE" sz="1300" kern="1200" dirty="0" smtClean="0"/>
                        <a:t>brecha digital de MYPES</a:t>
                      </a:r>
                    </a:p>
                    <a:p>
                      <a:pPr marL="285750" marR="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dirty="0" smtClean="0"/>
                        <a:t>Adopción de buenas prácticas de gestión empresarial.</a:t>
                      </a:r>
                      <a:endParaRPr lang="es-PE" sz="1300" b="0" kern="1200" dirty="0" smtClean="0">
                        <a:solidFill>
                          <a:schemeClr val="dk1"/>
                        </a:solidFill>
                        <a:latin typeface="+mn-lt"/>
                        <a:ea typeface="+mn-ea"/>
                        <a:cs typeface="+mn-cs"/>
                      </a:endParaRPr>
                    </a:p>
                  </a:txBody>
                  <a:tcPr marL="91434" marR="91434" marT="45723" marB="45723" anchor="ctr"/>
                </a:tc>
              </a:tr>
              <a:tr h="980152">
                <a:tc>
                  <a:txBody>
                    <a:bodyPr/>
                    <a:lstStyle/>
                    <a:p>
                      <a:pPr algn="ctr"/>
                      <a:r>
                        <a:rPr lang="es-PE" sz="1300" dirty="0" smtClean="0"/>
                        <a:t>Interconexión con otras </a:t>
                      </a:r>
                      <a:r>
                        <a:rPr lang="es-PE" sz="1300" dirty="0" err="1" smtClean="0"/>
                        <a:t>VUCEs</a:t>
                      </a:r>
                      <a:r>
                        <a:rPr lang="es-PE" sz="1300" dirty="0" smtClean="0"/>
                        <a:t> en el exterior</a:t>
                      </a:r>
                      <a:endParaRPr lang="es-PE" sz="1300" b="1" dirty="0"/>
                    </a:p>
                  </a:txBody>
                  <a:tcPr marL="91434" marR="91434" marT="45723" marB="45723" anchor="ctr"/>
                </a:tc>
                <a:tc>
                  <a:txBody>
                    <a:bodyPr/>
                    <a:lstStyle/>
                    <a:p>
                      <a:pPr marL="182563" marR="0" indent="-182563" algn="l"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dirty="0" smtClean="0"/>
                        <a:t>Intercambio de información generada por la VUCE de Perú con las </a:t>
                      </a:r>
                      <a:r>
                        <a:rPr lang="es-PE" sz="1300" kern="1200" dirty="0" err="1" smtClean="0"/>
                        <a:t>VUCEs</a:t>
                      </a:r>
                      <a:r>
                        <a:rPr lang="es-PE" sz="1300" kern="1200" dirty="0" smtClean="0"/>
                        <a:t> de la Alianza del Pacífico.</a:t>
                      </a:r>
                      <a:endParaRPr lang="es-PE" sz="1300" b="0" kern="1200" dirty="0">
                        <a:solidFill>
                          <a:schemeClr val="dk1"/>
                        </a:solidFill>
                        <a:latin typeface="+mn-lt"/>
                        <a:ea typeface="+mn-ea"/>
                        <a:cs typeface="+mn-cs"/>
                      </a:endParaRPr>
                    </a:p>
                  </a:txBody>
                  <a:tcPr marL="91434" marR="91434" marT="45723" marB="45723" anchor="ctr"/>
                </a:tc>
                <a:tc>
                  <a:txBody>
                    <a:bodyPr/>
                    <a:lstStyle/>
                    <a:p>
                      <a:pPr marL="285750" marR="0" indent="-285750" algn="just"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dirty="0" smtClean="0"/>
                        <a:t>Disminución</a:t>
                      </a:r>
                      <a:r>
                        <a:rPr lang="es-PE" sz="1300" kern="1200" baseline="0" dirty="0" smtClean="0"/>
                        <a:t> de costos</a:t>
                      </a:r>
                    </a:p>
                    <a:p>
                      <a:pPr marL="285750" marR="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baseline="0" dirty="0" smtClean="0"/>
                        <a:t>Predictibilidad y mayor seguridad para el sector privado. la información presentada</a:t>
                      </a:r>
                    </a:p>
                  </a:txBody>
                  <a:tcPr marL="91434" marR="91434" marT="45723" marB="45723" anchor="ctr"/>
                </a:tc>
              </a:tr>
              <a:tr h="755719">
                <a:tc>
                  <a:txBody>
                    <a:bodyPr/>
                    <a:lstStyle/>
                    <a:p>
                      <a:pPr algn="ctr"/>
                      <a:r>
                        <a:rPr lang="es-PE" sz="1300" dirty="0" smtClean="0"/>
                        <a:t>Interconexión con</a:t>
                      </a:r>
                      <a:r>
                        <a:rPr lang="es-PE" sz="1300" baseline="0" dirty="0" smtClean="0"/>
                        <a:t> SUNAT</a:t>
                      </a:r>
                      <a:endParaRPr lang="es-PE" sz="1300" b="1" dirty="0"/>
                    </a:p>
                  </a:txBody>
                  <a:tcPr marL="91434" marR="91434" marT="45723" marB="45723" anchor="ctr"/>
                </a:tc>
                <a:tc>
                  <a:txBody>
                    <a:bodyPr/>
                    <a:lstStyle/>
                    <a:p>
                      <a:pPr marL="285750" marR="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dirty="0" smtClean="0"/>
                        <a:t>Intercambio</a:t>
                      </a:r>
                      <a:r>
                        <a:rPr lang="es-PE" sz="1300" kern="1200" baseline="0" dirty="0" smtClean="0"/>
                        <a:t> de información entre el sistema aduanero y la VUCE</a:t>
                      </a:r>
                      <a:endParaRPr lang="es-PE" sz="1300" b="0" kern="1200" dirty="0">
                        <a:solidFill>
                          <a:schemeClr val="dk1"/>
                        </a:solidFill>
                        <a:latin typeface="+mn-lt"/>
                        <a:ea typeface="+mn-ea"/>
                        <a:cs typeface="+mn-cs"/>
                      </a:endParaRPr>
                    </a:p>
                  </a:txBody>
                  <a:tcPr marL="91434" marR="91434" marT="45723" marB="45723" anchor="ctr"/>
                </a:tc>
                <a:tc>
                  <a:txBody>
                    <a:bodyPr/>
                    <a:lstStyle/>
                    <a:p>
                      <a:pPr marL="285750" marR="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lang="es-PE" sz="1300" kern="1200" dirty="0" smtClean="0"/>
                        <a:t>Disminuir</a:t>
                      </a:r>
                      <a:r>
                        <a:rPr lang="es-PE" sz="1300" kern="1200" baseline="0" dirty="0" smtClean="0"/>
                        <a:t> el porcentaje de reconocimiento físico y documental de mercancías restringidas.</a:t>
                      </a:r>
                      <a:endParaRPr lang="es-PE" sz="1300" b="0" kern="1200" dirty="0">
                        <a:solidFill>
                          <a:schemeClr val="dk1"/>
                        </a:solidFill>
                        <a:latin typeface="+mn-lt"/>
                        <a:ea typeface="+mn-ea"/>
                        <a:cs typeface="+mn-cs"/>
                      </a:endParaRPr>
                    </a:p>
                  </a:txBody>
                  <a:tcPr marL="91434" marR="91434" marT="45723" marB="45723" anchor="ctr"/>
                </a:tc>
              </a:tr>
            </a:tbl>
          </a:graphicData>
        </a:graphic>
      </p:graphicFrame>
      <p:sp>
        <p:nvSpPr>
          <p:cNvPr id="4" name="AutoShape 76"/>
          <p:cNvSpPr>
            <a:spLocks/>
          </p:cNvSpPr>
          <p:nvPr/>
        </p:nvSpPr>
        <p:spPr bwMode="auto">
          <a:xfrm>
            <a:off x="0" y="333376"/>
            <a:ext cx="9144000" cy="71596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p:spPr>
        <p:txBody>
          <a:bodyPr lIns="116709" tIns="66691" rIns="116709" bIns="66691" anchor="ctr"/>
          <a:lstStyle/>
          <a:p>
            <a:pPr algn="ctr" defTabSz="842963">
              <a:defRPr/>
            </a:pPr>
            <a:endParaRPr lang="es-PE" altLang="es-PE" sz="2800" b="1" dirty="0">
              <a:solidFill>
                <a:srgbClr val="C00000"/>
              </a:solidFill>
              <a:latin typeface="+mn-lt"/>
              <a:cs typeface="+mn-cs"/>
              <a:sym typeface="Helvetica" pitchFamily="34" charset="0"/>
            </a:endParaRPr>
          </a:p>
        </p:txBody>
      </p:sp>
      <p:pic>
        <p:nvPicPr>
          <p:cNvPr id="39965" name="15 Imagen"/>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93882" y="5667376"/>
            <a:ext cx="1554773"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2 Marcador de número de diapositiva"/>
          <p:cNvSpPr>
            <a:spLocks noGrp="1"/>
          </p:cNvSpPr>
          <p:nvPr>
            <p:ph type="sldNum" sz="quarter" idx="12"/>
          </p:nvPr>
        </p:nvSpPr>
        <p:spPr/>
        <p:txBody>
          <a:bodyPr/>
          <a:lstStyle/>
          <a:p>
            <a:pPr>
              <a:defRPr/>
            </a:pPr>
            <a:fld id="{9B009F1E-1602-4591-9EB5-F194DDB927C3}" type="slidenum">
              <a:rPr lang="es-PE" smtClean="0"/>
              <a:pPr>
                <a:defRPr/>
              </a:pPr>
              <a:t>21</a:t>
            </a:fld>
            <a:endParaRPr lang="es-PE"/>
          </a:p>
        </p:txBody>
      </p:sp>
      <p:sp>
        <p:nvSpPr>
          <p:cNvPr id="6" name="1 Título"/>
          <p:cNvSpPr txBox="1">
            <a:spLocks/>
          </p:cNvSpPr>
          <p:nvPr/>
        </p:nvSpPr>
        <p:spPr>
          <a:xfrm>
            <a:off x="457200" y="152718"/>
            <a:ext cx="7931224" cy="1371600"/>
          </a:xfrm>
          <a:prstGeom prst="rect">
            <a:avLst/>
          </a:prstGeom>
        </p:spPr>
        <p:txBody>
          <a:bodyPr>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s-ES" sz="2800" b="1" kern="0" dirty="0" smtClean="0">
                <a:solidFill>
                  <a:srgbClr val="FF0000"/>
                </a:solidFill>
                <a:latin typeface="+mn-lt"/>
              </a:rPr>
              <a:t>III.</a:t>
            </a:r>
            <a:r>
              <a:rPr lang="es-ES" sz="2800" b="1" kern="0" dirty="0" smtClean="0">
                <a:latin typeface="+mn-lt"/>
              </a:rPr>
              <a:t>	</a:t>
            </a:r>
            <a:r>
              <a:rPr lang="es-ES" sz="2800" b="1" kern="0" dirty="0" smtClean="0">
                <a:solidFill>
                  <a:schemeClr val="tx1"/>
                </a:solidFill>
                <a:latin typeface="+mn-lt"/>
              </a:rPr>
              <a:t>TAREA DEL ESTADO</a:t>
            </a:r>
            <a:endParaRPr lang="es-ES" sz="2800" b="1" kern="0" dirty="0">
              <a:solidFill>
                <a:schemeClr val="tx1"/>
              </a:solidFill>
              <a:latin typeface="+mn-lt"/>
            </a:endParaRPr>
          </a:p>
        </p:txBody>
      </p:sp>
      <p:sp>
        <p:nvSpPr>
          <p:cNvPr id="2" name="1 CuadroTexto"/>
          <p:cNvSpPr txBox="1"/>
          <p:nvPr/>
        </p:nvSpPr>
        <p:spPr>
          <a:xfrm>
            <a:off x="683568" y="6093296"/>
            <a:ext cx="2952328" cy="369332"/>
          </a:xfrm>
          <a:prstGeom prst="rect">
            <a:avLst/>
          </a:prstGeom>
          <a:noFill/>
        </p:spPr>
        <p:txBody>
          <a:bodyPr wrap="square" rtlCol="0">
            <a:spAutoFit/>
          </a:bodyPr>
          <a:lstStyle/>
          <a:p>
            <a:r>
              <a:rPr lang="es-ES" b="1" dirty="0" smtClean="0"/>
              <a:t>Facilitación de comercio</a:t>
            </a:r>
            <a:endParaRPr lang="es-ES" b="1" dirty="0"/>
          </a:p>
        </p:txBody>
      </p:sp>
    </p:spTree>
    <p:extLst>
      <p:ext uri="{BB962C8B-B14F-4D97-AF65-F5344CB8AC3E}">
        <p14:creationId xmlns:p14="http://schemas.microsoft.com/office/powerpoint/2010/main" val="2078938152"/>
      </p:ext>
    </p:extLst>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05472"/>
            <a:ext cx="7931224" cy="1371600"/>
          </a:xfrm>
        </p:spPr>
        <p:txBody>
          <a:bodyPr>
            <a:normAutofit/>
          </a:bodyPr>
          <a:lstStyle/>
          <a:p>
            <a:r>
              <a:rPr lang="es-ES" sz="2800" dirty="0" err="1" smtClean="0"/>
              <a:t>iiI</a:t>
            </a:r>
            <a:r>
              <a:rPr lang="es-ES" sz="2800" dirty="0" smtClean="0"/>
              <a:t>.	</a:t>
            </a:r>
            <a:r>
              <a:rPr lang="es-ES" sz="2800" dirty="0" smtClean="0">
                <a:solidFill>
                  <a:schemeClr val="tx1"/>
                </a:solidFill>
              </a:rPr>
              <a:t>DESAFIOS PARA LA EMPRESA </a:t>
            </a:r>
            <a:br>
              <a:rPr lang="es-ES" sz="2800" dirty="0" smtClean="0">
                <a:solidFill>
                  <a:schemeClr val="tx1"/>
                </a:solidFill>
              </a:rPr>
            </a:br>
            <a:r>
              <a:rPr lang="es-ES" sz="2800" dirty="0">
                <a:solidFill>
                  <a:schemeClr val="tx1"/>
                </a:solidFill>
              </a:rPr>
              <a:t>	</a:t>
            </a:r>
            <a:r>
              <a:rPr lang="es-ES" sz="2800" dirty="0" smtClean="0">
                <a:solidFill>
                  <a:schemeClr val="tx1"/>
                </a:solidFill>
              </a:rPr>
              <a:t>PERUANA</a:t>
            </a:r>
            <a:endParaRPr lang="es-ES" sz="2800" dirty="0">
              <a:solidFill>
                <a:schemeClr val="tx1"/>
              </a:solidFill>
            </a:endParaRPr>
          </a:p>
        </p:txBody>
      </p:sp>
    </p:spTree>
    <p:extLst>
      <p:ext uri="{BB962C8B-B14F-4D97-AF65-F5344CB8AC3E}">
        <p14:creationId xmlns:p14="http://schemas.microsoft.com/office/powerpoint/2010/main" val="1538273571"/>
      </p:ext>
    </p:extLst>
  </p:cSld>
  <p:clrMapOvr>
    <a:masterClrMapping/>
  </p:clrMapOvr>
  <p:transition spd="slow">
    <p:push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p:cNvPicPr>
            <a:picLocks noChangeAspect="1" noChangeArrowheads="1"/>
          </p:cNvPicPr>
          <p:nvPr/>
        </p:nvPicPr>
        <p:blipFill>
          <a:blip r:embed="rId2" cstate="print"/>
          <a:srcRect/>
          <a:stretch>
            <a:fillRect/>
          </a:stretch>
        </p:blipFill>
        <p:spPr bwMode="auto">
          <a:xfrm>
            <a:off x="0" y="1268760"/>
            <a:ext cx="4143610" cy="2232248"/>
          </a:xfrm>
          <a:prstGeom prst="rect">
            <a:avLst/>
          </a:prstGeom>
          <a:noFill/>
          <a:ln w="9525">
            <a:noFill/>
            <a:miter lim="800000"/>
            <a:headEnd/>
            <a:tailEnd/>
          </a:ln>
          <a:effectLst>
            <a:softEdge rad="63500"/>
          </a:effectLst>
        </p:spPr>
      </p:pic>
      <p:sp>
        <p:nvSpPr>
          <p:cNvPr id="4" name="3 CuadroTexto"/>
          <p:cNvSpPr txBox="1">
            <a:spLocks noChangeArrowheads="1"/>
          </p:cNvSpPr>
          <p:nvPr/>
        </p:nvSpPr>
        <p:spPr bwMode="auto">
          <a:xfrm>
            <a:off x="179512" y="188640"/>
            <a:ext cx="7992888" cy="523220"/>
          </a:xfrm>
          <a:prstGeom prst="rect">
            <a:avLst/>
          </a:prstGeom>
          <a:noFill/>
          <a:ln w="9525">
            <a:noFill/>
            <a:miter lim="800000"/>
            <a:headEnd/>
            <a:tailEnd/>
          </a:ln>
        </p:spPr>
        <p:txBody>
          <a:bodyPr wrap="square">
            <a:spAutoFit/>
          </a:bodyPr>
          <a:lstStyle/>
          <a:p>
            <a:pPr algn="l"/>
            <a:r>
              <a:rPr lang="es-ES" sz="2800" b="1" dirty="0" smtClean="0">
                <a:solidFill>
                  <a:srgbClr val="FFFFFF"/>
                </a:solidFill>
                <a:latin typeface="Arial"/>
              </a:rPr>
              <a:t>1. </a:t>
            </a:r>
            <a:r>
              <a:rPr lang="es-ES" sz="2800" b="1" dirty="0" smtClean="0">
                <a:solidFill>
                  <a:schemeClr val="tx2">
                    <a:lumMod val="75000"/>
                  </a:schemeClr>
                </a:solidFill>
                <a:latin typeface="Arial"/>
              </a:rPr>
              <a:t>1.</a:t>
            </a:r>
            <a:r>
              <a:rPr lang="es-ES" sz="2800" b="1" dirty="0" smtClean="0">
                <a:latin typeface="Arial"/>
              </a:rPr>
              <a:t>Conocimiento del mercado</a:t>
            </a:r>
            <a:endParaRPr lang="es-ES" sz="2800" b="1" dirty="0">
              <a:latin typeface="Arial"/>
            </a:endParaRPr>
          </a:p>
        </p:txBody>
      </p:sp>
      <p:pic>
        <p:nvPicPr>
          <p:cNvPr id="5" name="Picture 5"/>
          <p:cNvPicPr>
            <a:picLocks noChangeAspect="1" noChangeArrowheads="1"/>
          </p:cNvPicPr>
          <p:nvPr/>
        </p:nvPicPr>
        <p:blipFill>
          <a:blip r:embed="rId3" cstate="print"/>
          <a:srcRect/>
          <a:stretch>
            <a:fillRect/>
          </a:stretch>
        </p:blipFill>
        <p:spPr bwMode="auto">
          <a:xfrm>
            <a:off x="1" y="3931842"/>
            <a:ext cx="4716016" cy="2926158"/>
          </a:xfrm>
          <a:prstGeom prst="rect">
            <a:avLst/>
          </a:prstGeom>
          <a:noFill/>
          <a:ln w="9525">
            <a:noFill/>
            <a:miter lim="800000"/>
            <a:headEnd/>
            <a:tailEnd/>
          </a:ln>
          <a:effectLst>
            <a:softEdge rad="63500"/>
          </a:effectLst>
        </p:spPr>
      </p:pic>
      <p:pic>
        <p:nvPicPr>
          <p:cNvPr id="6" name="Picture 2"/>
          <p:cNvPicPr>
            <a:picLocks noChangeAspect="1" noChangeArrowheads="1"/>
          </p:cNvPicPr>
          <p:nvPr/>
        </p:nvPicPr>
        <p:blipFill>
          <a:blip r:embed="rId4" cstate="print"/>
          <a:srcRect/>
          <a:stretch>
            <a:fillRect/>
          </a:stretch>
        </p:blipFill>
        <p:spPr bwMode="auto">
          <a:xfrm>
            <a:off x="4967537" y="1052736"/>
            <a:ext cx="4176463" cy="3276917"/>
          </a:xfrm>
          <a:prstGeom prst="rect">
            <a:avLst/>
          </a:prstGeom>
          <a:noFill/>
          <a:ln w="9525">
            <a:noFill/>
            <a:miter lim="800000"/>
            <a:headEnd/>
            <a:tailEnd/>
          </a:ln>
          <a:effectLst>
            <a:glow rad="63500">
              <a:schemeClr val="accent4">
                <a:satMod val="175000"/>
                <a:alpha val="40000"/>
              </a:schemeClr>
            </a:glow>
          </a:effectLst>
        </p:spPr>
      </p:pic>
      <p:pic>
        <p:nvPicPr>
          <p:cNvPr id="7" name="Picture 4"/>
          <p:cNvPicPr>
            <a:picLocks noChangeAspect="1" noChangeArrowheads="1"/>
          </p:cNvPicPr>
          <p:nvPr/>
        </p:nvPicPr>
        <p:blipFill>
          <a:blip r:embed="rId5" cstate="print"/>
          <a:srcRect/>
          <a:stretch>
            <a:fillRect/>
          </a:stretch>
        </p:blipFill>
        <p:spPr bwMode="auto">
          <a:xfrm>
            <a:off x="4932040" y="4581128"/>
            <a:ext cx="4190540" cy="1296144"/>
          </a:xfrm>
          <a:prstGeom prst="rect">
            <a:avLst/>
          </a:prstGeom>
          <a:noFill/>
          <a:ln w="9525">
            <a:noFill/>
            <a:miter lim="800000"/>
            <a:headEnd/>
            <a:tailEnd/>
          </a:ln>
          <a:effectLst>
            <a:glow rad="63500">
              <a:schemeClr val="accent4">
                <a:satMod val="175000"/>
                <a:alpha val="40000"/>
              </a:schemeClr>
            </a:glow>
          </a:effectLst>
        </p:spPr>
      </p:pic>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par>
                                <p:cTn id="8" presetID="3" presetClass="entr" presetSubtype="1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linds(horizontal)">
                                      <p:cBhvr>
                                        <p:cTn id="10" dur="500"/>
                                        <p:tgtEl>
                                          <p:spTgt spid="5"/>
                                        </p:tgtEl>
                                      </p:cBhvr>
                                    </p:animEffect>
                                  </p:childTnLst>
                                </p:cTn>
                              </p:par>
                              <p:par>
                                <p:cTn id="11" presetID="3" presetClass="entr" presetSubtype="1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linds(horizontal)">
                                      <p:cBhvr>
                                        <p:cTn id="13" dur="500"/>
                                        <p:tgtEl>
                                          <p:spTgt spid="6"/>
                                        </p:tgtEl>
                                      </p:cBhvr>
                                    </p:animEffect>
                                  </p:childTnLst>
                                </p:cTn>
                              </p:par>
                              <p:par>
                                <p:cTn id="14" presetID="3" presetClass="entr" presetSubtype="1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blinds(horizontal)">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CuadroTexto"/>
          <p:cNvSpPr txBox="1">
            <a:spLocks noChangeArrowheads="1"/>
          </p:cNvSpPr>
          <p:nvPr/>
        </p:nvSpPr>
        <p:spPr bwMode="auto">
          <a:xfrm>
            <a:off x="179512" y="188641"/>
            <a:ext cx="7992888" cy="954107"/>
          </a:xfrm>
          <a:prstGeom prst="rect">
            <a:avLst/>
          </a:prstGeom>
          <a:noFill/>
          <a:ln w="9525">
            <a:noFill/>
            <a:miter lim="800000"/>
            <a:headEnd/>
            <a:tailEnd/>
          </a:ln>
        </p:spPr>
        <p:txBody>
          <a:bodyPr wrap="square">
            <a:spAutoFit/>
          </a:bodyPr>
          <a:lstStyle/>
          <a:p>
            <a:r>
              <a:rPr lang="es-ES" sz="2800" b="1" dirty="0" smtClean="0">
                <a:solidFill>
                  <a:schemeClr val="bg1"/>
                </a:solidFill>
                <a:latin typeface="Arial"/>
              </a:rPr>
              <a:t>2. </a:t>
            </a:r>
            <a:r>
              <a:rPr lang="es-ES" sz="2800" b="1" dirty="0" smtClean="0">
                <a:solidFill>
                  <a:schemeClr val="tx2">
                    <a:lumMod val="75000"/>
                  </a:schemeClr>
                </a:solidFill>
                <a:latin typeface="Arial"/>
              </a:rPr>
              <a:t>2. </a:t>
            </a:r>
            <a:r>
              <a:rPr lang="es-ES" sz="2800" b="1" dirty="0" smtClean="0">
                <a:latin typeface="Arial"/>
              </a:rPr>
              <a:t>S</a:t>
            </a:r>
            <a:r>
              <a:rPr kumimoji="1" lang="es-PE" sz="2800" b="1" dirty="0" err="1" smtClean="0"/>
              <a:t>ólo</a:t>
            </a:r>
            <a:r>
              <a:rPr kumimoji="1" lang="es-PE" sz="2800" b="1" dirty="0" smtClean="0"/>
              <a:t> “</a:t>
            </a:r>
            <a:r>
              <a:rPr kumimoji="1" lang="es-PE" sz="2800" b="1" dirty="0" err="1" smtClean="0"/>
              <a:t>Despachadores”</a:t>
            </a:r>
            <a:r>
              <a:rPr kumimoji="1" lang="es-PE" sz="2800" b="1" dirty="0" err="1" smtClean="0">
                <a:solidFill>
                  <a:schemeClr val="bg1"/>
                </a:solidFill>
              </a:rPr>
              <a:t>sólo</a:t>
            </a:r>
            <a:r>
              <a:rPr kumimoji="1" lang="es-PE" sz="2800" b="1" dirty="0" smtClean="0">
                <a:solidFill>
                  <a:schemeClr val="bg1"/>
                </a:solidFill>
              </a:rPr>
              <a:t> “Despachadores”</a:t>
            </a:r>
            <a:endParaRPr lang="de-DE" sz="2800" b="1" noProof="1" smtClean="0">
              <a:solidFill>
                <a:schemeClr val="bg1"/>
              </a:solidFill>
              <a:cs typeface="Arial" charset="0"/>
            </a:endParaRPr>
          </a:p>
        </p:txBody>
      </p:sp>
      <p:pic>
        <p:nvPicPr>
          <p:cNvPr id="6" name="Picture 2"/>
          <p:cNvPicPr>
            <a:picLocks noChangeAspect="1" noChangeArrowheads="1"/>
          </p:cNvPicPr>
          <p:nvPr/>
        </p:nvPicPr>
        <p:blipFill>
          <a:blip r:embed="rId2" cstate="print"/>
          <a:srcRect/>
          <a:stretch>
            <a:fillRect/>
          </a:stretch>
        </p:blipFill>
        <p:spPr bwMode="auto">
          <a:xfrm>
            <a:off x="125760" y="2132857"/>
            <a:ext cx="4806280" cy="3024336"/>
          </a:xfrm>
          <a:prstGeom prst="rect">
            <a:avLst/>
          </a:prstGeom>
          <a:noFill/>
          <a:ln w="9525">
            <a:noFill/>
            <a:miter lim="800000"/>
            <a:headEnd/>
            <a:tailEnd/>
          </a:ln>
          <a:effectLst>
            <a:glow rad="63500">
              <a:schemeClr val="accent4">
                <a:satMod val="175000"/>
                <a:alpha val="40000"/>
              </a:schemeClr>
            </a:glow>
            <a:softEdge rad="63500"/>
          </a:effectLst>
        </p:spPr>
      </p:pic>
      <p:pic>
        <p:nvPicPr>
          <p:cNvPr id="7" name="Picture 3"/>
          <p:cNvPicPr>
            <a:picLocks noChangeAspect="1" noChangeArrowheads="1"/>
          </p:cNvPicPr>
          <p:nvPr/>
        </p:nvPicPr>
        <p:blipFill>
          <a:blip r:embed="rId3" cstate="print"/>
          <a:srcRect/>
          <a:stretch>
            <a:fillRect/>
          </a:stretch>
        </p:blipFill>
        <p:spPr bwMode="auto">
          <a:xfrm>
            <a:off x="4982433" y="980728"/>
            <a:ext cx="4161567" cy="2578596"/>
          </a:xfrm>
          <a:prstGeom prst="rect">
            <a:avLst/>
          </a:prstGeom>
          <a:noFill/>
          <a:ln w="9525">
            <a:noFill/>
            <a:miter lim="800000"/>
            <a:headEnd/>
            <a:tailEnd/>
          </a:ln>
          <a:effectLst>
            <a:glow rad="63500">
              <a:schemeClr val="accent4">
                <a:satMod val="175000"/>
                <a:alpha val="40000"/>
              </a:schemeClr>
            </a:glow>
            <a:softEdge rad="63500"/>
          </a:effectLst>
        </p:spPr>
      </p:pic>
      <p:pic>
        <p:nvPicPr>
          <p:cNvPr id="8" name="Picture 4"/>
          <p:cNvPicPr>
            <a:picLocks noChangeAspect="1" noChangeArrowheads="1"/>
          </p:cNvPicPr>
          <p:nvPr/>
        </p:nvPicPr>
        <p:blipFill>
          <a:blip r:embed="rId4" cstate="print"/>
          <a:srcRect/>
          <a:stretch>
            <a:fillRect/>
          </a:stretch>
        </p:blipFill>
        <p:spPr bwMode="auto">
          <a:xfrm>
            <a:off x="5482387" y="3717032"/>
            <a:ext cx="3626117" cy="2808312"/>
          </a:xfrm>
          <a:prstGeom prst="rect">
            <a:avLst/>
          </a:prstGeom>
          <a:noFill/>
          <a:ln w="9525">
            <a:noFill/>
            <a:miter lim="800000"/>
            <a:headEnd/>
            <a:tailEnd/>
          </a:ln>
          <a:effectLst>
            <a:glow rad="63500">
              <a:schemeClr val="accent4">
                <a:satMod val="175000"/>
                <a:alpha val="40000"/>
              </a:schemeClr>
            </a:glow>
            <a:softEdge rad="63500"/>
          </a:effectLst>
        </p:spPr>
      </p:pic>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par>
                                <p:cTn id="8" presetID="3" presetClass="entr" presetSubtype="1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par>
                                <p:cTn id="11" presetID="3" presetClass="entr" presetSubtype="1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http://mediac1.viva-images.com/vivastreet_ar/classified/6f/4/15746417/large/1.jpg?dt=bf85c76374c53950ac44557b1070ce3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57772" y="2089373"/>
            <a:ext cx="4762500" cy="3571875"/>
          </a:xfrm>
          <a:prstGeom prst="rect">
            <a:avLst/>
          </a:prstGeom>
          <a:noFill/>
          <a:effectLst>
            <a:glow rad="101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
        <p:nvSpPr>
          <p:cNvPr id="3" name="2 CuadroTexto"/>
          <p:cNvSpPr txBox="1">
            <a:spLocks noChangeArrowheads="1"/>
          </p:cNvSpPr>
          <p:nvPr/>
        </p:nvSpPr>
        <p:spPr bwMode="auto">
          <a:xfrm>
            <a:off x="179512" y="188640"/>
            <a:ext cx="7992888" cy="523220"/>
          </a:xfrm>
          <a:prstGeom prst="rect">
            <a:avLst/>
          </a:prstGeom>
          <a:noFill/>
          <a:ln w="9525">
            <a:noFill/>
            <a:miter lim="800000"/>
            <a:headEnd/>
            <a:tailEnd/>
          </a:ln>
        </p:spPr>
        <p:txBody>
          <a:bodyPr wrap="square">
            <a:spAutoFit/>
          </a:bodyPr>
          <a:lstStyle/>
          <a:p>
            <a:r>
              <a:rPr lang="es-PE" sz="2800" b="1" dirty="0" smtClean="0">
                <a:solidFill>
                  <a:schemeClr val="bg1"/>
                </a:solidFill>
                <a:latin typeface="Arial"/>
              </a:rPr>
              <a:t>3.</a:t>
            </a:r>
            <a:r>
              <a:rPr kumimoji="1" lang="es-PE" sz="2800" b="1" dirty="0" smtClean="0">
                <a:solidFill>
                  <a:schemeClr val="tx2">
                    <a:lumMod val="75000"/>
                  </a:schemeClr>
                </a:solidFill>
              </a:rPr>
              <a:t>3.</a:t>
            </a:r>
            <a:r>
              <a:rPr kumimoji="1" lang="es-PE" sz="2800" b="1" dirty="0" smtClean="0"/>
              <a:t>Apuesta por Valor Agregado</a:t>
            </a:r>
            <a:endParaRPr lang="de-DE" sz="2800" b="1" noProof="1" smtClean="0">
              <a:solidFill>
                <a:schemeClr val="bg1"/>
              </a:solidFill>
              <a:cs typeface="Arial" charset="0"/>
            </a:endParaRPr>
          </a:p>
        </p:txBody>
      </p:sp>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amond(i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84336" y="188640"/>
            <a:ext cx="8520112" cy="647700"/>
          </a:xfrm>
          <a:prstGeom prst="rect">
            <a:avLst/>
          </a:prstGeom>
        </p:spPr>
        <p:txBody>
          <a:bodyPr/>
          <a:lstStyle/>
          <a:p>
            <a:r>
              <a:rPr lang="en-GB" sz="2800" b="1" dirty="0" smtClean="0">
                <a:solidFill>
                  <a:srgbClr val="FFFFFF"/>
                </a:solidFill>
                <a:latin typeface="Arial" pitchFamily="34" charset="0"/>
                <a:cs typeface="Arial" pitchFamily="34" charset="0"/>
              </a:rPr>
              <a:t>4. </a:t>
            </a:r>
            <a:r>
              <a:rPr lang="en-GB" sz="2800" b="1" dirty="0" smtClean="0">
                <a:solidFill>
                  <a:schemeClr val="tx2">
                    <a:lumMod val="75000"/>
                  </a:schemeClr>
                </a:solidFill>
                <a:latin typeface="Arial" pitchFamily="34" charset="0"/>
                <a:cs typeface="Arial" pitchFamily="34" charset="0"/>
              </a:rPr>
              <a:t>4. </a:t>
            </a:r>
            <a:r>
              <a:rPr lang="en-GB" sz="2800" b="1" dirty="0" err="1" smtClean="0">
                <a:latin typeface="Arial" pitchFamily="34" charset="0"/>
                <a:cs typeface="Arial" pitchFamily="34" charset="0"/>
              </a:rPr>
              <a:t>Branding</a:t>
            </a:r>
            <a:r>
              <a:rPr lang="en-GB" sz="2800" b="1" dirty="0" err="1" smtClean="0">
                <a:solidFill>
                  <a:srgbClr val="FFFFFF"/>
                </a:solidFill>
                <a:latin typeface="Arial" pitchFamily="34" charset="0"/>
                <a:cs typeface="Arial" pitchFamily="34" charset="0"/>
              </a:rPr>
              <a:t>g</a:t>
            </a:r>
            <a:endParaRPr lang="en-GB" sz="2800" b="1" dirty="0" smtClean="0">
              <a:solidFill>
                <a:srgbClr val="FFFFFF"/>
              </a:solidFill>
              <a:latin typeface="Arial" pitchFamily="34" charset="0"/>
              <a:cs typeface="Arial" pitchFamily="34" charset="0"/>
            </a:endParaRPr>
          </a:p>
        </p:txBody>
      </p:sp>
      <p:pic>
        <p:nvPicPr>
          <p:cNvPr id="103" name="Picture 5"/>
          <p:cNvPicPr>
            <a:picLocks noChangeAspect="1" noChangeArrowheads="1"/>
          </p:cNvPicPr>
          <p:nvPr/>
        </p:nvPicPr>
        <p:blipFill>
          <a:blip r:embed="rId6" cstate="print"/>
          <a:srcRect/>
          <a:stretch>
            <a:fillRect/>
          </a:stretch>
        </p:blipFill>
        <p:spPr bwMode="gray">
          <a:xfrm>
            <a:off x="2915816" y="5334629"/>
            <a:ext cx="3419872" cy="398627"/>
          </a:xfrm>
          <a:prstGeom prst="rect">
            <a:avLst/>
          </a:prstGeom>
          <a:noFill/>
          <a:ln w="9525">
            <a:noFill/>
            <a:miter lim="800000"/>
            <a:headEnd/>
            <a:tailEnd/>
          </a:ln>
        </p:spPr>
      </p:pic>
      <p:pic>
        <p:nvPicPr>
          <p:cNvPr id="2050" name="Picture 2"/>
          <p:cNvPicPr>
            <a:picLocks noChangeAspect="1" noChangeArrowheads="1"/>
          </p:cNvPicPr>
          <p:nvPr/>
        </p:nvPicPr>
        <p:blipFill>
          <a:blip r:embed="rId7" cstate="print"/>
          <a:srcRect/>
          <a:stretch>
            <a:fillRect/>
          </a:stretch>
        </p:blipFill>
        <p:spPr bwMode="auto">
          <a:xfrm>
            <a:off x="0" y="5572125"/>
            <a:ext cx="1657350" cy="1285875"/>
          </a:xfrm>
          <a:prstGeom prst="rect">
            <a:avLst/>
          </a:prstGeom>
          <a:noFill/>
          <a:ln w="9525">
            <a:noFill/>
            <a:miter lim="800000"/>
            <a:headEnd/>
            <a:tailEnd/>
          </a:ln>
        </p:spPr>
      </p:pic>
      <p:pic>
        <p:nvPicPr>
          <p:cNvPr id="2051" name="Picture 3"/>
          <p:cNvPicPr>
            <a:picLocks noChangeAspect="1" noChangeArrowheads="1"/>
          </p:cNvPicPr>
          <p:nvPr/>
        </p:nvPicPr>
        <p:blipFill>
          <a:blip r:embed="rId8" cstate="print"/>
          <a:srcRect/>
          <a:stretch>
            <a:fillRect/>
          </a:stretch>
        </p:blipFill>
        <p:spPr bwMode="auto">
          <a:xfrm>
            <a:off x="35496" y="4106391"/>
            <a:ext cx="1238250" cy="1266825"/>
          </a:xfrm>
          <a:prstGeom prst="rect">
            <a:avLst/>
          </a:prstGeom>
          <a:noFill/>
          <a:ln w="9525">
            <a:noFill/>
            <a:miter lim="800000"/>
            <a:headEnd/>
            <a:tailEnd/>
          </a:ln>
        </p:spPr>
      </p:pic>
      <p:pic>
        <p:nvPicPr>
          <p:cNvPr id="2052" name="Picture 4"/>
          <p:cNvPicPr>
            <a:picLocks noChangeAspect="1" noChangeArrowheads="1"/>
          </p:cNvPicPr>
          <p:nvPr/>
        </p:nvPicPr>
        <p:blipFill>
          <a:blip r:embed="rId9" cstate="print"/>
          <a:srcRect/>
          <a:stretch>
            <a:fillRect/>
          </a:stretch>
        </p:blipFill>
        <p:spPr bwMode="auto">
          <a:xfrm>
            <a:off x="1979712" y="5373216"/>
            <a:ext cx="1197099" cy="1208721"/>
          </a:xfrm>
          <a:prstGeom prst="rect">
            <a:avLst/>
          </a:prstGeom>
          <a:noFill/>
          <a:ln w="9525">
            <a:noFill/>
            <a:miter lim="800000"/>
            <a:headEnd/>
            <a:tailEnd/>
          </a:ln>
        </p:spPr>
      </p:pic>
      <p:pic>
        <p:nvPicPr>
          <p:cNvPr id="2053" name="Picture 5"/>
          <p:cNvPicPr>
            <a:picLocks noChangeAspect="1" noChangeArrowheads="1"/>
          </p:cNvPicPr>
          <p:nvPr/>
        </p:nvPicPr>
        <p:blipFill>
          <a:blip r:embed="rId10" cstate="print"/>
          <a:srcRect/>
          <a:stretch>
            <a:fillRect/>
          </a:stretch>
        </p:blipFill>
        <p:spPr bwMode="auto">
          <a:xfrm>
            <a:off x="3419872" y="5805264"/>
            <a:ext cx="1743075" cy="809625"/>
          </a:xfrm>
          <a:prstGeom prst="rect">
            <a:avLst/>
          </a:prstGeom>
          <a:noFill/>
          <a:ln w="9525">
            <a:noFill/>
            <a:miter lim="800000"/>
            <a:headEnd/>
            <a:tailEnd/>
          </a:ln>
        </p:spPr>
      </p:pic>
      <p:pic>
        <p:nvPicPr>
          <p:cNvPr id="2054" name="Picture 6"/>
          <p:cNvPicPr>
            <a:picLocks noChangeAspect="1" noChangeArrowheads="1"/>
          </p:cNvPicPr>
          <p:nvPr/>
        </p:nvPicPr>
        <p:blipFill>
          <a:blip r:embed="rId11" cstate="print"/>
          <a:srcRect/>
          <a:stretch>
            <a:fillRect/>
          </a:stretch>
        </p:blipFill>
        <p:spPr bwMode="auto">
          <a:xfrm>
            <a:off x="0" y="3212976"/>
            <a:ext cx="1304925" cy="857250"/>
          </a:xfrm>
          <a:prstGeom prst="rect">
            <a:avLst/>
          </a:prstGeom>
          <a:noFill/>
          <a:ln w="9525">
            <a:noFill/>
            <a:miter lim="800000"/>
            <a:headEnd/>
            <a:tailEnd/>
          </a:ln>
        </p:spPr>
      </p:pic>
      <p:pic>
        <p:nvPicPr>
          <p:cNvPr id="2055" name="Picture 7"/>
          <p:cNvPicPr>
            <a:picLocks noChangeAspect="1" noChangeArrowheads="1"/>
          </p:cNvPicPr>
          <p:nvPr/>
        </p:nvPicPr>
        <p:blipFill>
          <a:blip r:embed="rId12" cstate="print"/>
          <a:srcRect/>
          <a:stretch>
            <a:fillRect/>
          </a:stretch>
        </p:blipFill>
        <p:spPr bwMode="auto">
          <a:xfrm>
            <a:off x="7740352" y="5514975"/>
            <a:ext cx="1085850" cy="1343025"/>
          </a:xfrm>
          <a:prstGeom prst="rect">
            <a:avLst/>
          </a:prstGeom>
          <a:noFill/>
          <a:ln w="9525">
            <a:noFill/>
            <a:miter lim="800000"/>
            <a:headEnd/>
            <a:tailEnd/>
          </a:ln>
        </p:spPr>
      </p:pic>
      <p:pic>
        <p:nvPicPr>
          <p:cNvPr id="2056" name="Picture 8"/>
          <p:cNvPicPr>
            <a:picLocks noChangeAspect="1" noChangeArrowheads="1"/>
          </p:cNvPicPr>
          <p:nvPr/>
        </p:nvPicPr>
        <p:blipFill>
          <a:blip r:embed="rId13" cstate="print"/>
          <a:srcRect/>
          <a:stretch>
            <a:fillRect/>
          </a:stretch>
        </p:blipFill>
        <p:spPr bwMode="auto">
          <a:xfrm>
            <a:off x="6811603" y="3789040"/>
            <a:ext cx="2332397" cy="954782"/>
          </a:xfrm>
          <a:prstGeom prst="rect">
            <a:avLst/>
          </a:prstGeom>
          <a:noFill/>
          <a:ln w="9525">
            <a:noFill/>
            <a:miter lim="800000"/>
            <a:headEnd/>
            <a:tailEnd/>
          </a:ln>
        </p:spPr>
      </p:pic>
      <p:pic>
        <p:nvPicPr>
          <p:cNvPr id="2058" name="Picture 10"/>
          <p:cNvPicPr>
            <a:picLocks noChangeAspect="1" noChangeArrowheads="1"/>
          </p:cNvPicPr>
          <p:nvPr/>
        </p:nvPicPr>
        <p:blipFill>
          <a:blip r:embed="rId14" cstate="print"/>
          <a:srcRect/>
          <a:stretch>
            <a:fillRect/>
          </a:stretch>
        </p:blipFill>
        <p:spPr bwMode="auto">
          <a:xfrm>
            <a:off x="5580112" y="5589240"/>
            <a:ext cx="1656184" cy="1114739"/>
          </a:xfrm>
          <a:prstGeom prst="rect">
            <a:avLst/>
          </a:prstGeom>
          <a:noFill/>
          <a:ln w="9525">
            <a:noFill/>
            <a:miter lim="800000"/>
            <a:headEnd/>
            <a:tailEnd/>
          </a:ln>
        </p:spPr>
      </p:pic>
      <p:pic>
        <p:nvPicPr>
          <p:cNvPr id="2059" name="Picture 11"/>
          <p:cNvPicPr>
            <a:picLocks noChangeAspect="1" noChangeArrowheads="1"/>
          </p:cNvPicPr>
          <p:nvPr/>
        </p:nvPicPr>
        <p:blipFill>
          <a:blip r:embed="rId15" cstate="print"/>
          <a:srcRect/>
          <a:stretch>
            <a:fillRect/>
          </a:stretch>
        </p:blipFill>
        <p:spPr bwMode="auto">
          <a:xfrm>
            <a:off x="6156176" y="1397521"/>
            <a:ext cx="1419225" cy="1095375"/>
          </a:xfrm>
          <a:prstGeom prst="rect">
            <a:avLst/>
          </a:prstGeom>
          <a:noFill/>
          <a:ln w="9525">
            <a:noFill/>
            <a:miter lim="800000"/>
            <a:headEnd/>
            <a:tailEnd/>
          </a:ln>
        </p:spPr>
      </p:pic>
      <p:pic>
        <p:nvPicPr>
          <p:cNvPr id="2060" name="Picture 12"/>
          <p:cNvPicPr>
            <a:picLocks noChangeAspect="1" noChangeArrowheads="1"/>
          </p:cNvPicPr>
          <p:nvPr/>
        </p:nvPicPr>
        <p:blipFill>
          <a:blip r:embed="rId16" cstate="print"/>
          <a:srcRect/>
          <a:stretch>
            <a:fillRect/>
          </a:stretch>
        </p:blipFill>
        <p:spPr bwMode="auto">
          <a:xfrm>
            <a:off x="6300192" y="4653136"/>
            <a:ext cx="1543050" cy="771525"/>
          </a:xfrm>
          <a:prstGeom prst="rect">
            <a:avLst/>
          </a:prstGeom>
          <a:noFill/>
          <a:ln w="9525">
            <a:noFill/>
            <a:miter lim="800000"/>
            <a:headEnd/>
            <a:tailEnd/>
          </a:ln>
        </p:spPr>
      </p:pic>
      <p:pic>
        <p:nvPicPr>
          <p:cNvPr id="2061" name="Picture 13"/>
          <p:cNvPicPr>
            <a:picLocks noChangeAspect="1" noChangeArrowheads="1"/>
          </p:cNvPicPr>
          <p:nvPr/>
        </p:nvPicPr>
        <p:blipFill>
          <a:blip r:embed="rId17" cstate="print"/>
          <a:srcRect/>
          <a:stretch>
            <a:fillRect/>
          </a:stretch>
        </p:blipFill>
        <p:spPr bwMode="auto">
          <a:xfrm>
            <a:off x="0" y="2204864"/>
            <a:ext cx="1695450" cy="704850"/>
          </a:xfrm>
          <a:prstGeom prst="rect">
            <a:avLst/>
          </a:prstGeom>
          <a:noFill/>
          <a:ln w="9525">
            <a:noFill/>
            <a:miter lim="800000"/>
            <a:headEnd/>
            <a:tailEnd/>
          </a:ln>
        </p:spPr>
      </p:pic>
      <p:pic>
        <p:nvPicPr>
          <p:cNvPr id="2062" name="Picture 14"/>
          <p:cNvPicPr>
            <a:picLocks noChangeAspect="1" noChangeArrowheads="1"/>
          </p:cNvPicPr>
          <p:nvPr/>
        </p:nvPicPr>
        <p:blipFill>
          <a:blip r:embed="rId18" cstate="print"/>
          <a:srcRect/>
          <a:stretch>
            <a:fillRect/>
          </a:stretch>
        </p:blipFill>
        <p:spPr bwMode="auto">
          <a:xfrm>
            <a:off x="7848600" y="4653136"/>
            <a:ext cx="1295400" cy="762000"/>
          </a:xfrm>
          <a:prstGeom prst="rect">
            <a:avLst/>
          </a:prstGeom>
          <a:noFill/>
          <a:ln w="9525">
            <a:noFill/>
            <a:miter lim="800000"/>
            <a:headEnd/>
            <a:tailEnd/>
          </a:ln>
        </p:spPr>
      </p:pic>
      <p:pic>
        <p:nvPicPr>
          <p:cNvPr id="2063" name="Picture 15"/>
          <p:cNvPicPr>
            <a:picLocks noChangeAspect="1" noChangeArrowheads="1"/>
          </p:cNvPicPr>
          <p:nvPr/>
        </p:nvPicPr>
        <p:blipFill>
          <a:blip r:embed="rId19" cstate="print"/>
          <a:srcRect/>
          <a:stretch>
            <a:fillRect/>
          </a:stretch>
        </p:blipFill>
        <p:spPr bwMode="auto">
          <a:xfrm>
            <a:off x="1691680" y="3429000"/>
            <a:ext cx="1190625" cy="742950"/>
          </a:xfrm>
          <a:prstGeom prst="rect">
            <a:avLst/>
          </a:prstGeom>
          <a:noFill/>
          <a:ln w="9525">
            <a:noFill/>
            <a:miter lim="800000"/>
            <a:headEnd/>
            <a:tailEnd/>
          </a:ln>
        </p:spPr>
      </p:pic>
      <p:pic>
        <p:nvPicPr>
          <p:cNvPr id="2064" name="Picture 16"/>
          <p:cNvPicPr>
            <a:picLocks noChangeAspect="1" noChangeArrowheads="1"/>
          </p:cNvPicPr>
          <p:nvPr/>
        </p:nvPicPr>
        <p:blipFill>
          <a:blip r:embed="rId20" cstate="print"/>
          <a:srcRect/>
          <a:stretch>
            <a:fillRect/>
          </a:stretch>
        </p:blipFill>
        <p:spPr bwMode="auto">
          <a:xfrm>
            <a:off x="1907704" y="1200025"/>
            <a:ext cx="1080120" cy="1148855"/>
          </a:xfrm>
          <a:prstGeom prst="rect">
            <a:avLst/>
          </a:prstGeom>
          <a:noFill/>
          <a:ln w="9525">
            <a:noFill/>
            <a:miter lim="800000"/>
            <a:headEnd/>
            <a:tailEnd/>
          </a:ln>
        </p:spPr>
      </p:pic>
      <p:sp>
        <p:nvSpPr>
          <p:cNvPr id="38" name="Freeform 15"/>
          <p:cNvSpPr>
            <a:spLocks/>
          </p:cNvSpPr>
          <p:nvPr>
            <p:custDataLst>
              <p:tags r:id="rId1"/>
            </p:custDataLst>
          </p:nvPr>
        </p:nvSpPr>
        <p:spPr bwMode="gray">
          <a:xfrm>
            <a:off x="2923754" y="3379277"/>
            <a:ext cx="1627486" cy="1670502"/>
          </a:xfrm>
          <a:custGeom>
            <a:avLst/>
            <a:gdLst>
              <a:gd name="T0" fmla="*/ 2147483647 w 301"/>
              <a:gd name="T1" fmla="*/ 2147483647 h 309"/>
              <a:gd name="T2" fmla="*/ 2147483647 w 301"/>
              <a:gd name="T3" fmla="*/ 2147483647 h 309"/>
              <a:gd name="T4" fmla="*/ 2147483647 w 301"/>
              <a:gd name="T5" fmla="*/ 2147483647 h 309"/>
              <a:gd name="T6" fmla="*/ 2147483647 w 301"/>
              <a:gd name="T7" fmla="*/ 0 h 309"/>
              <a:gd name="T8" fmla="*/ 0 w 301"/>
              <a:gd name="T9" fmla="*/ 2147483647 h 309"/>
              <a:gd name="T10" fmla="*/ 2147483647 w 301"/>
              <a:gd name="T11" fmla="*/ 2147483647 h 309"/>
              <a:gd name="T12" fmla="*/ 2147483647 w 301"/>
              <a:gd name="T13" fmla="*/ 2147483647 h 309"/>
              <a:gd name="T14" fmla="*/ 2147483647 w 301"/>
              <a:gd name="T15" fmla="*/ 2147483647 h 309"/>
              <a:gd name="T16" fmla="*/ 2147483647 w 301"/>
              <a:gd name="T17" fmla="*/ 2147483647 h 3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1"/>
              <a:gd name="T28" fmla="*/ 0 h 309"/>
              <a:gd name="T29" fmla="*/ 301 w 301"/>
              <a:gd name="T30" fmla="*/ 309 h 3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1" h="309">
                <a:moveTo>
                  <a:pt x="299" y="215"/>
                </a:moveTo>
                <a:cubicBezTo>
                  <a:pt x="263" y="216"/>
                  <a:pt x="226" y="208"/>
                  <a:pt x="192" y="188"/>
                </a:cubicBezTo>
                <a:cubicBezTo>
                  <a:pt x="136" y="156"/>
                  <a:pt x="102" y="101"/>
                  <a:pt x="95" y="41"/>
                </a:cubicBezTo>
                <a:cubicBezTo>
                  <a:pt x="47" y="0"/>
                  <a:pt x="47" y="0"/>
                  <a:pt x="47" y="0"/>
                </a:cubicBezTo>
                <a:cubicBezTo>
                  <a:pt x="0" y="42"/>
                  <a:pt x="0" y="42"/>
                  <a:pt x="0" y="42"/>
                </a:cubicBezTo>
                <a:cubicBezTo>
                  <a:pt x="13" y="191"/>
                  <a:pt x="138" y="309"/>
                  <a:pt x="291" y="309"/>
                </a:cubicBezTo>
                <a:cubicBezTo>
                  <a:pt x="295" y="309"/>
                  <a:pt x="298" y="309"/>
                  <a:pt x="301" y="309"/>
                </a:cubicBezTo>
                <a:cubicBezTo>
                  <a:pt x="258" y="261"/>
                  <a:pt x="258" y="261"/>
                  <a:pt x="258" y="261"/>
                </a:cubicBezTo>
                <a:lnTo>
                  <a:pt x="299" y="215"/>
                </a:lnTo>
                <a:close/>
              </a:path>
            </a:pathLst>
          </a:custGeom>
          <a:gradFill rotWithShape="1">
            <a:gsLst>
              <a:gs pos="0">
                <a:srgbClr val="969696"/>
              </a:gs>
              <a:gs pos="50000">
                <a:srgbClr val="E5E5E5"/>
              </a:gs>
              <a:gs pos="100000">
                <a:srgbClr val="969696"/>
              </a:gs>
            </a:gsLst>
            <a:lin ang="5400000" scaled="1"/>
          </a:gradFill>
          <a:ln w="19050">
            <a:solidFill>
              <a:srgbClr val="FFFFFF"/>
            </a:solidFill>
            <a:round/>
            <a:headEnd/>
            <a:tailEnd/>
          </a:ln>
        </p:spPr>
        <p:txBody>
          <a:bodyPr/>
          <a:lstStyle/>
          <a:p>
            <a:pPr algn="l" fontAlgn="auto">
              <a:spcBef>
                <a:spcPts val="0"/>
              </a:spcBef>
              <a:spcAft>
                <a:spcPts val="0"/>
              </a:spcAft>
            </a:pPr>
            <a:endParaRPr lang="es-PE" sz="1800">
              <a:solidFill>
                <a:srgbClr val="000000"/>
              </a:solidFill>
              <a:latin typeface="Arial" pitchFamily="34" charset="0"/>
              <a:cs typeface="Arial" pitchFamily="34" charset="0"/>
            </a:endParaRPr>
          </a:p>
        </p:txBody>
      </p:sp>
      <p:sp>
        <p:nvSpPr>
          <p:cNvPr id="39" name="Freeform 16"/>
          <p:cNvSpPr>
            <a:spLocks/>
          </p:cNvSpPr>
          <p:nvPr>
            <p:custDataLst>
              <p:tags r:id="rId2"/>
            </p:custDataLst>
          </p:nvPr>
        </p:nvSpPr>
        <p:spPr bwMode="gray">
          <a:xfrm>
            <a:off x="2915816" y="1731451"/>
            <a:ext cx="1673371" cy="1621750"/>
          </a:xfrm>
          <a:custGeom>
            <a:avLst/>
            <a:gdLst>
              <a:gd name="T0" fmla="*/ 2147483647 w 309"/>
              <a:gd name="T1" fmla="*/ 2147483647 h 300"/>
              <a:gd name="T2" fmla="*/ 2147483647 w 309"/>
              <a:gd name="T3" fmla="*/ 2147483647 h 300"/>
              <a:gd name="T4" fmla="*/ 2147483647 w 309"/>
              <a:gd name="T5" fmla="*/ 2147483647 h 300"/>
              <a:gd name="T6" fmla="*/ 2147483647 w 309"/>
              <a:gd name="T7" fmla="*/ 2147483647 h 300"/>
              <a:gd name="T8" fmla="*/ 2147483647 w 309"/>
              <a:gd name="T9" fmla="*/ 0 h 300"/>
              <a:gd name="T10" fmla="*/ 0 w 309"/>
              <a:gd name="T11" fmla="*/ 2147483647 h 300"/>
              <a:gd name="T12" fmla="*/ 0 w 309"/>
              <a:gd name="T13" fmla="*/ 2147483647 h 300"/>
              <a:gd name="T14" fmla="*/ 2147483647 w 309"/>
              <a:gd name="T15" fmla="*/ 2147483647 h 300"/>
              <a:gd name="T16" fmla="*/ 2147483647 w 309"/>
              <a:gd name="T17" fmla="*/ 2147483647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gradFill rotWithShape="1">
            <a:gsLst>
              <a:gs pos="0">
                <a:srgbClr val="E5E5E5"/>
              </a:gs>
              <a:gs pos="100000">
                <a:srgbClr val="969696"/>
              </a:gs>
            </a:gsLst>
            <a:lin ang="5400000" scaled="1"/>
          </a:gradFill>
          <a:ln w="19050">
            <a:solidFill>
              <a:srgbClr val="FFFFFF"/>
            </a:solidFill>
            <a:round/>
            <a:headEnd/>
            <a:tailEnd/>
          </a:ln>
        </p:spPr>
        <p:txBody>
          <a:bodyPr/>
          <a:lstStyle/>
          <a:p>
            <a:pPr algn="l" fontAlgn="auto">
              <a:spcBef>
                <a:spcPts val="0"/>
              </a:spcBef>
              <a:spcAft>
                <a:spcPts val="0"/>
              </a:spcAft>
            </a:pPr>
            <a:endParaRPr lang="es-PE" sz="1800">
              <a:solidFill>
                <a:srgbClr val="000000"/>
              </a:solidFill>
              <a:latin typeface="Arial" pitchFamily="34" charset="0"/>
              <a:cs typeface="Arial" pitchFamily="34" charset="0"/>
            </a:endParaRPr>
          </a:p>
        </p:txBody>
      </p:sp>
      <p:sp>
        <p:nvSpPr>
          <p:cNvPr id="40" name="Freeform 17"/>
          <p:cNvSpPr>
            <a:spLocks/>
          </p:cNvSpPr>
          <p:nvPr>
            <p:custDataLst>
              <p:tags r:id="rId3"/>
            </p:custDataLst>
          </p:nvPr>
        </p:nvSpPr>
        <p:spPr bwMode="gray">
          <a:xfrm>
            <a:off x="4574753" y="3426901"/>
            <a:ext cx="1670504" cy="1620317"/>
          </a:xfrm>
          <a:custGeom>
            <a:avLst/>
            <a:gdLst>
              <a:gd name="T0" fmla="*/ 2147483647 w 308"/>
              <a:gd name="T1" fmla="*/ 0 h 300"/>
              <a:gd name="T2" fmla="*/ 2147483647 w 308"/>
              <a:gd name="T3" fmla="*/ 2147483647 h 300"/>
              <a:gd name="T4" fmla="*/ 2147483647 w 308"/>
              <a:gd name="T5" fmla="*/ 2147483647 h 300"/>
              <a:gd name="T6" fmla="*/ 0 w 308"/>
              <a:gd name="T7" fmla="*/ 2147483647 h 300"/>
              <a:gd name="T8" fmla="*/ 2147483647 w 308"/>
              <a:gd name="T9" fmla="*/ 2147483647 h 300"/>
              <a:gd name="T10" fmla="*/ 2147483647 w 308"/>
              <a:gd name="T11" fmla="*/ 2147483647 h 300"/>
              <a:gd name="T12" fmla="*/ 2147483647 w 308"/>
              <a:gd name="T13" fmla="*/ 0 h 300"/>
              <a:gd name="T14" fmla="*/ 2147483647 w 308"/>
              <a:gd name="T15" fmla="*/ 2147483647 h 300"/>
              <a:gd name="T16" fmla="*/ 2147483647 w 308"/>
              <a:gd name="T17" fmla="*/ 0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8"/>
              <a:gd name="T28" fmla="*/ 0 h 300"/>
              <a:gd name="T29" fmla="*/ 308 w 308"/>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8" h="300">
                <a:moveTo>
                  <a:pt x="214" y="0"/>
                </a:moveTo>
                <a:cubicBezTo>
                  <a:pt x="215" y="37"/>
                  <a:pt x="207" y="74"/>
                  <a:pt x="187" y="107"/>
                </a:cubicBezTo>
                <a:cubicBezTo>
                  <a:pt x="155" y="163"/>
                  <a:pt x="101" y="197"/>
                  <a:pt x="42" y="205"/>
                </a:cubicBezTo>
                <a:cubicBezTo>
                  <a:pt x="0" y="253"/>
                  <a:pt x="0" y="253"/>
                  <a:pt x="0" y="253"/>
                </a:cubicBezTo>
                <a:cubicBezTo>
                  <a:pt x="42" y="300"/>
                  <a:pt x="42" y="300"/>
                  <a:pt x="42" y="300"/>
                </a:cubicBezTo>
                <a:cubicBezTo>
                  <a:pt x="191" y="287"/>
                  <a:pt x="308" y="161"/>
                  <a:pt x="308" y="8"/>
                </a:cubicBezTo>
                <a:cubicBezTo>
                  <a:pt x="308" y="6"/>
                  <a:pt x="308" y="3"/>
                  <a:pt x="308" y="0"/>
                </a:cubicBezTo>
                <a:cubicBezTo>
                  <a:pt x="261" y="42"/>
                  <a:pt x="261" y="42"/>
                  <a:pt x="261" y="42"/>
                </a:cubicBezTo>
                <a:lnTo>
                  <a:pt x="214" y="0"/>
                </a:lnTo>
                <a:close/>
              </a:path>
            </a:pathLst>
          </a:custGeom>
          <a:gradFill rotWithShape="1">
            <a:gsLst>
              <a:gs pos="0">
                <a:srgbClr val="969696"/>
              </a:gs>
              <a:gs pos="50000">
                <a:srgbClr val="E5E5E5"/>
              </a:gs>
              <a:gs pos="100000">
                <a:srgbClr val="969696"/>
              </a:gs>
            </a:gsLst>
            <a:lin ang="5400000" scaled="1"/>
          </a:gradFill>
          <a:ln w="19050">
            <a:solidFill>
              <a:srgbClr val="FFFFFF"/>
            </a:solidFill>
            <a:round/>
            <a:headEnd/>
            <a:tailEnd/>
          </a:ln>
        </p:spPr>
        <p:txBody>
          <a:bodyPr/>
          <a:lstStyle/>
          <a:p>
            <a:pPr algn="l" fontAlgn="auto">
              <a:spcBef>
                <a:spcPts val="0"/>
              </a:spcBef>
              <a:spcAft>
                <a:spcPts val="0"/>
              </a:spcAft>
            </a:pPr>
            <a:endParaRPr lang="es-PE" sz="1800">
              <a:solidFill>
                <a:srgbClr val="000000"/>
              </a:solidFill>
              <a:latin typeface="Arial" pitchFamily="34" charset="0"/>
              <a:cs typeface="Arial" pitchFamily="34" charset="0"/>
            </a:endParaRPr>
          </a:p>
        </p:txBody>
      </p:sp>
      <p:sp>
        <p:nvSpPr>
          <p:cNvPr id="41" name="Freeform 18"/>
          <p:cNvSpPr>
            <a:spLocks/>
          </p:cNvSpPr>
          <p:nvPr>
            <p:custDataLst>
              <p:tags r:id="rId4"/>
            </p:custDataLst>
          </p:nvPr>
        </p:nvSpPr>
        <p:spPr bwMode="gray">
          <a:xfrm>
            <a:off x="4625553" y="1720338"/>
            <a:ext cx="1617449" cy="1670504"/>
          </a:xfrm>
          <a:custGeom>
            <a:avLst/>
            <a:gdLst>
              <a:gd name="T0" fmla="*/ 2147483647 w 299"/>
              <a:gd name="T1" fmla="*/ 2147483647 h 309"/>
              <a:gd name="T2" fmla="*/ 2147483647 w 299"/>
              <a:gd name="T3" fmla="*/ 2147483647 h 309"/>
              <a:gd name="T4" fmla="*/ 2147483647 w 299"/>
              <a:gd name="T5" fmla="*/ 2147483647 h 309"/>
              <a:gd name="T6" fmla="*/ 2147483647 w 299"/>
              <a:gd name="T7" fmla="*/ 2147483647 h 309"/>
              <a:gd name="T8" fmla="*/ 2147483647 w 299"/>
              <a:gd name="T9" fmla="*/ 2147483647 h 309"/>
              <a:gd name="T10" fmla="*/ 2147483647 w 299"/>
              <a:gd name="T11" fmla="*/ 0 h 309"/>
              <a:gd name="T12" fmla="*/ 0 w 299"/>
              <a:gd name="T13" fmla="*/ 2147483647 h 309"/>
              <a:gd name="T14" fmla="*/ 2147483647 w 299"/>
              <a:gd name="T15" fmla="*/ 2147483647 h 309"/>
              <a:gd name="T16" fmla="*/ 2147483647 w 299"/>
              <a:gd name="T17" fmla="*/ 2147483647 h 3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9"/>
              <a:gd name="T28" fmla="*/ 0 h 309"/>
              <a:gd name="T29" fmla="*/ 299 w 299"/>
              <a:gd name="T30" fmla="*/ 309 h 3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9" h="309">
                <a:moveTo>
                  <a:pt x="1" y="95"/>
                </a:moveTo>
                <a:cubicBezTo>
                  <a:pt x="37" y="94"/>
                  <a:pt x="73" y="102"/>
                  <a:pt x="107" y="121"/>
                </a:cubicBezTo>
                <a:cubicBezTo>
                  <a:pt x="162" y="153"/>
                  <a:pt x="196" y="208"/>
                  <a:pt x="204" y="266"/>
                </a:cubicBezTo>
                <a:cubicBezTo>
                  <a:pt x="253" y="309"/>
                  <a:pt x="253" y="309"/>
                  <a:pt x="253" y="309"/>
                </a:cubicBezTo>
                <a:cubicBezTo>
                  <a:pt x="299" y="268"/>
                  <a:pt x="299" y="268"/>
                  <a:pt x="299" y="268"/>
                </a:cubicBezTo>
                <a:cubicBezTo>
                  <a:pt x="287" y="118"/>
                  <a:pt x="161" y="0"/>
                  <a:pt x="7" y="0"/>
                </a:cubicBezTo>
                <a:cubicBezTo>
                  <a:pt x="5" y="0"/>
                  <a:pt x="2" y="1"/>
                  <a:pt x="0" y="1"/>
                </a:cubicBezTo>
                <a:cubicBezTo>
                  <a:pt x="42" y="48"/>
                  <a:pt x="42" y="48"/>
                  <a:pt x="42" y="48"/>
                </a:cubicBezTo>
                <a:lnTo>
                  <a:pt x="1" y="95"/>
                </a:lnTo>
                <a:close/>
              </a:path>
            </a:pathLst>
          </a:custGeom>
          <a:gradFill rotWithShape="1">
            <a:gsLst>
              <a:gs pos="0">
                <a:srgbClr val="0061B2"/>
              </a:gs>
              <a:gs pos="50000">
                <a:srgbClr val="4B8FC9"/>
              </a:gs>
              <a:gs pos="100000">
                <a:srgbClr val="0061B2"/>
              </a:gs>
            </a:gsLst>
            <a:lin ang="5400000" scaled="1"/>
          </a:gradFill>
          <a:ln w="19050">
            <a:solidFill>
              <a:srgbClr val="FFFFFF"/>
            </a:solidFill>
            <a:round/>
            <a:headEnd/>
            <a:tailEnd/>
          </a:ln>
        </p:spPr>
        <p:txBody>
          <a:bodyPr/>
          <a:lstStyle/>
          <a:p>
            <a:pPr algn="l" fontAlgn="auto">
              <a:spcBef>
                <a:spcPts val="0"/>
              </a:spcBef>
              <a:spcAft>
                <a:spcPts val="0"/>
              </a:spcAft>
            </a:pPr>
            <a:endParaRPr lang="es-PE" sz="1800">
              <a:solidFill>
                <a:srgbClr val="000000"/>
              </a:solidFill>
              <a:latin typeface="Arial" pitchFamily="34" charset="0"/>
              <a:cs typeface="Arial" pitchFamily="34" charset="0"/>
            </a:endParaRPr>
          </a:p>
        </p:txBody>
      </p:sp>
      <p:grpSp>
        <p:nvGrpSpPr>
          <p:cNvPr id="3" name="Group 20"/>
          <p:cNvGrpSpPr>
            <a:grpSpLocks/>
          </p:cNvGrpSpPr>
          <p:nvPr/>
        </p:nvGrpSpPr>
        <p:grpSpPr bwMode="auto">
          <a:xfrm>
            <a:off x="3606378" y="2472814"/>
            <a:ext cx="1927173" cy="1815328"/>
            <a:chOff x="3846" y="-114"/>
            <a:chExt cx="1291" cy="1216"/>
          </a:xfrm>
        </p:grpSpPr>
        <p:sp>
          <p:nvSpPr>
            <p:cNvPr id="43" name="Freeform 21"/>
            <p:cNvSpPr>
              <a:spLocks noEditPoints="1"/>
            </p:cNvSpPr>
            <p:nvPr/>
          </p:nvSpPr>
          <p:spPr bwMode="gray">
            <a:xfrm>
              <a:off x="3846" y="-106"/>
              <a:ext cx="1291" cy="1162"/>
            </a:xfrm>
            <a:custGeom>
              <a:avLst/>
              <a:gdLst>
                <a:gd name="T0" fmla="*/ 227 w 1713"/>
                <a:gd name="T1" fmla="*/ 36 h 1537"/>
                <a:gd name="T2" fmla="*/ 623 w 1713"/>
                <a:gd name="T3" fmla="*/ 128 h 1537"/>
                <a:gd name="T4" fmla="*/ 650 w 1713"/>
                <a:gd name="T5" fmla="*/ 141 h 1537"/>
                <a:gd name="T6" fmla="*/ 59 w 1713"/>
                <a:gd name="T7" fmla="*/ 179 h 1537"/>
                <a:gd name="T8" fmla="*/ 70 w 1713"/>
                <a:gd name="T9" fmla="*/ 192 h 1537"/>
                <a:gd name="T10" fmla="*/ 682 w 1713"/>
                <a:gd name="T11" fmla="*/ 243 h 1537"/>
                <a:gd name="T12" fmla="*/ 705 w 1713"/>
                <a:gd name="T13" fmla="*/ 229 h 1537"/>
                <a:gd name="T14" fmla="*/ 675 w 1713"/>
                <a:gd name="T15" fmla="*/ 248 h 1537"/>
                <a:gd name="T16" fmla="*/ 690 w 1713"/>
                <a:gd name="T17" fmla="*/ 259 h 1537"/>
                <a:gd name="T18" fmla="*/ 670 w 1713"/>
                <a:gd name="T19" fmla="*/ 284 h 1537"/>
                <a:gd name="T20" fmla="*/ 703 w 1713"/>
                <a:gd name="T21" fmla="*/ 352 h 1537"/>
                <a:gd name="T22" fmla="*/ 663 w 1713"/>
                <a:gd name="T23" fmla="*/ 289 h 1537"/>
                <a:gd name="T24" fmla="*/ 665 w 1713"/>
                <a:gd name="T25" fmla="*/ 304 h 1537"/>
                <a:gd name="T26" fmla="*/ 641 w 1713"/>
                <a:gd name="T27" fmla="*/ 296 h 1537"/>
                <a:gd name="T28" fmla="*/ 597 w 1713"/>
                <a:gd name="T29" fmla="*/ 315 h 1537"/>
                <a:gd name="T30" fmla="*/ 649 w 1713"/>
                <a:gd name="T31" fmla="*/ 304 h 1537"/>
                <a:gd name="T32" fmla="*/ 690 w 1713"/>
                <a:gd name="T33" fmla="*/ 339 h 1537"/>
                <a:gd name="T34" fmla="*/ 679 w 1713"/>
                <a:gd name="T35" fmla="*/ 346 h 1537"/>
                <a:gd name="T36" fmla="*/ 725 w 1713"/>
                <a:gd name="T37" fmla="*/ 325 h 1537"/>
                <a:gd name="T38" fmla="*/ 656 w 1713"/>
                <a:gd name="T39" fmla="*/ 313 h 1537"/>
                <a:gd name="T40" fmla="*/ 668 w 1713"/>
                <a:gd name="T41" fmla="*/ 321 h 1537"/>
                <a:gd name="T42" fmla="*/ 663 w 1713"/>
                <a:gd name="T43" fmla="*/ 393 h 1537"/>
                <a:gd name="T44" fmla="*/ 625 w 1713"/>
                <a:gd name="T45" fmla="*/ 358 h 1537"/>
                <a:gd name="T46" fmla="*/ 571 w 1713"/>
                <a:gd name="T47" fmla="*/ 383 h 1537"/>
                <a:gd name="T48" fmla="*/ 574 w 1713"/>
                <a:gd name="T49" fmla="*/ 477 h 1537"/>
                <a:gd name="T50" fmla="*/ 631 w 1713"/>
                <a:gd name="T51" fmla="*/ 483 h 1537"/>
                <a:gd name="T52" fmla="*/ 677 w 1713"/>
                <a:gd name="T53" fmla="*/ 456 h 1537"/>
                <a:gd name="T54" fmla="*/ 706 w 1713"/>
                <a:gd name="T55" fmla="*/ 376 h 1537"/>
                <a:gd name="T56" fmla="*/ 715 w 1713"/>
                <a:gd name="T57" fmla="*/ 390 h 1537"/>
                <a:gd name="T58" fmla="*/ 684 w 1713"/>
                <a:gd name="T59" fmla="*/ 352 h 1537"/>
                <a:gd name="T60" fmla="*/ 647 w 1713"/>
                <a:gd name="T61" fmla="*/ 358 h 1537"/>
                <a:gd name="T62" fmla="*/ 681 w 1713"/>
                <a:gd name="T63" fmla="*/ 373 h 1537"/>
                <a:gd name="T64" fmla="*/ 483 w 1713"/>
                <a:gd name="T65" fmla="*/ 423 h 1537"/>
                <a:gd name="T66" fmla="*/ 480 w 1713"/>
                <a:gd name="T67" fmla="*/ 439 h 1537"/>
                <a:gd name="T68" fmla="*/ 460 w 1713"/>
                <a:gd name="T69" fmla="*/ 466 h 1537"/>
                <a:gd name="T70" fmla="*/ 576 w 1713"/>
                <a:gd name="T71" fmla="*/ 489 h 1537"/>
                <a:gd name="T72" fmla="*/ 124 w 1713"/>
                <a:gd name="T73" fmla="*/ 560 h 1537"/>
                <a:gd name="T74" fmla="*/ 295 w 1713"/>
                <a:gd name="T75" fmla="*/ 25 h 1537"/>
                <a:gd name="T76" fmla="*/ 225 w 1713"/>
                <a:gd name="T77" fmla="*/ 11 h 1537"/>
                <a:gd name="T78" fmla="*/ 99 w 1713"/>
                <a:gd name="T79" fmla="*/ 148 h 1537"/>
                <a:gd name="T80" fmla="*/ 76 w 1713"/>
                <a:gd name="T81" fmla="*/ 215 h 1537"/>
                <a:gd name="T82" fmla="*/ 27 w 1713"/>
                <a:gd name="T83" fmla="*/ 269 h 1537"/>
                <a:gd name="T84" fmla="*/ 82 w 1713"/>
                <a:gd name="T85" fmla="*/ 561 h 1537"/>
                <a:gd name="T86" fmla="*/ 162 w 1713"/>
                <a:gd name="T87" fmla="*/ 612 h 1537"/>
                <a:gd name="T88" fmla="*/ 146 w 1713"/>
                <a:gd name="T89" fmla="*/ 583 h 1537"/>
                <a:gd name="T90" fmla="*/ 106 w 1713"/>
                <a:gd name="T91" fmla="*/ 538 h 1537"/>
                <a:gd name="T92" fmla="*/ 51 w 1713"/>
                <a:gd name="T93" fmla="*/ 331 h 1537"/>
                <a:gd name="T94" fmla="*/ 60 w 1713"/>
                <a:gd name="T95" fmla="*/ 262 h 1537"/>
                <a:gd name="T96" fmla="*/ 154 w 1713"/>
                <a:gd name="T97" fmla="*/ 155 h 1537"/>
                <a:gd name="T98" fmla="*/ 185 w 1713"/>
                <a:gd name="T99" fmla="*/ 128 h 1537"/>
                <a:gd name="T100" fmla="*/ 203 w 1713"/>
                <a:gd name="T101" fmla="*/ 61 h 1537"/>
                <a:gd name="T102" fmla="*/ 234 w 1713"/>
                <a:gd name="T103" fmla="*/ 29 h 1537"/>
                <a:gd name="T104" fmla="*/ 307 w 1713"/>
                <a:gd name="T105" fmla="*/ 27 h 1537"/>
                <a:gd name="T106" fmla="*/ 557 w 1713"/>
                <a:gd name="T107" fmla="*/ 55 h 1537"/>
                <a:gd name="T108" fmla="*/ 596 w 1713"/>
                <a:gd name="T109" fmla="*/ 79 h 1537"/>
                <a:gd name="T110" fmla="*/ 658 w 1713"/>
                <a:gd name="T111" fmla="*/ 133 h 1537"/>
                <a:gd name="T112" fmla="*/ 720 w 1713"/>
                <a:gd name="T113" fmla="*/ 290 h 1537"/>
                <a:gd name="T114" fmla="*/ 530 w 1713"/>
                <a:gd name="T115" fmla="*/ 28 h 1537"/>
                <a:gd name="T116" fmla="*/ 605 w 1713"/>
                <a:gd name="T117" fmla="*/ 93 h 1537"/>
                <a:gd name="T118" fmla="*/ 726 w 1713"/>
                <a:gd name="T119" fmla="*/ 378 h 15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13"/>
                <a:gd name="T181" fmla="*/ 0 h 1537"/>
                <a:gd name="T182" fmla="*/ 1713 w 1713"/>
                <a:gd name="T183" fmla="*/ 1537 h 15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13" h="1537">
                  <a:moveTo>
                    <a:pt x="1152" y="12"/>
                  </a:moveTo>
                  <a:cubicBezTo>
                    <a:pt x="1149" y="12"/>
                    <a:pt x="1146" y="9"/>
                    <a:pt x="1145" y="11"/>
                  </a:cubicBezTo>
                  <a:cubicBezTo>
                    <a:pt x="1146" y="11"/>
                    <a:pt x="1150" y="15"/>
                    <a:pt x="1152" y="12"/>
                  </a:cubicBezTo>
                  <a:close/>
                  <a:moveTo>
                    <a:pt x="719" y="38"/>
                  </a:moveTo>
                  <a:cubicBezTo>
                    <a:pt x="708" y="38"/>
                    <a:pt x="708" y="38"/>
                    <a:pt x="708" y="38"/>
                  </a:cubicBezTo>
                  <a:cubicBezTo>
                    <a:pt x="708" y="41"/>
                    <a:pt x="719" y="43"/>
                    <a:pt x="719" y="38"/>
                  </a:cubicBezTo>
                  <a:close/>
                  <a:moveTo>
                    <a:pt x="763" y="72"/>
                  </a:moveTo>
                  <a:cubicBezTo>
                    <a:pt x="762" y="76"/>
                    <a:pt x="769" y="76"/>
                    <a:pt x="771" y="74"/>
                  </a:cubicBezTo>
                  <a:cubicBezTo>
                    <a:pt x="768" y="74"/>
                    <a:pt x="765" y="70"/>
                    <a:pt x="763" y="72"/>
                  </a:cubicBezTo>
                  <a:close/>
                  <a:moveTo>
                    <a:pt x="775" y="74"/>
                  </a:moveTo>
                  <a:cubicBezTo>
                    <a:pt x="778" y="76"/>
                    <a:pt x="786" y="80"/>
                    <a:pt x="788" y="76"/>
                  </a:cubicBezTo>
                  <a:cubicBezTo>
                    <a:pt x="783" y="77"/>
                    <a:pt x="779" y="72"/>
                    <a:pt x="775" y="74"/>
                  </a:cubicBezTo>
                  <a:close/>
                  <a:moveTo>
                    <a:pt x="530" y="84"/>
                  </a:moveTo>
                  <a:cubicBezTo>
                    <a:pt x="534" y="85"/>
                    <a:pt x="533" y="80"/>
                    <a:pt x="535" y="84"/>
                  </a:cubicBezTo>
                  <a:cubicBezTo>
                    <a:pt x="536" y="83"/>
                    <a:pt x="536" y="83"/>
                    <a:pt x="537" y="83"/>
                  </a:cubicBezTo>
                  <a:cubicBezTo>
                    <a:pt x="536" y="80"/>
                    <a:pt x="537" y="78"/>
                    <a:pt x="538" y="75"/>
                  </a:cubicBezTo>
                  <a:cubicBezTo>
                    <a:pt x="532" y="75"/>
                    <a:pt x="531" y="80"/>
                    <a:pt x="530" y="84"/>
                  </a:cubicBezTo>
                  <a:close/>
                  <a:moveTo>
                    <a:pt x="530" y="88"/>
                  </a:moveTo>
                  <a:cubicBezTo>
                    <a:pt x="530" y="92"/>
                    <a:pt x="532" y="98"/>
                    <a:pt x="527" y="101"/>
                  </a:cubicBezTo>
                  <a:cubicBezTo>
                    <a:pt x="533" y="99"/>
                    <a:pt x="537" y="94"/>
                    <a:pt x="538" y="87"/>
                  </a:cubicBezTo>
                  <a:cubicBezTo>
                    <a:pt x="535" y="87"/>
                    <a:pt x="533" y="90"/>
                    <a:pt x="530" y="88"/>
                  </a:cubicBezTo>
                  <a:close/>
                  <a:moveTo>
                    <a:pt x="1311" y="135"/>
                  </a:moveTo>
                  <a:cubicBezTo>
                    <a:pt x="1308" y="134"/>
                    <a:pt x="1306" y="128"/>
                    <a:pt x="1303" y="130"/>
                  </a:cubicBezTo>
                  <a:cubicBezTo>
                    <a:pt x="1306" y="131"/>
                    <a:pt x="1308" y="138"/>
                    <a:pt x="1311" y="135"/>
                  </a:cubicBezTo>
                  <a:close/>
                  <a:moveTo>
                    <a:pt x="1414" y="226"/>
                  </a:moveTo>
                  <a:cubicBezTo>
                    <a:pt x="1414" y="223"/>
                    <a:pt x="1413" y="221"/>
                    <a:pt x="1410" y="221"/>
                  </a:cubicBezTo>
                  <a:cubicBezTo>
                    <a:pt x="1409" y="225"/>
                    <a:pt x="1413" y="224"/>
                    <a:pt x="1412" y="228"/>
                  </a:cubicBezTo>
                  <a:cubicBezTo>
                    <a:pt x="1406" y="237"/>
                    <a:pt x="1416" y="247"/>
                    <a:pt x="1421" y="252"/>
                  </a:cubicBezTo>
                  <a:cubicBezTo>
                    <a:pt x="1425" y="264"/>
                    <a:pt x="1425" y="274"/>
                    <a:pt x="1434" y="281"/>
                  </a:cubicBezTo>
                  <a:cubicBezTo>
                    <a:pt x="1434" y="279"/>
                    <a:pt x="1431" y="277"/>
                    <a:pt x="1434" y="276"/>
                  </a:cubicBezTo>
                  <a:cubicBezTo>
                    <a:pt x="1436" y="279"/>
                    <a:pt x="1439" y="282"/>
                    <a:pt x="1441" y="287"/>
                  </a:cubicBezTo>
                  <a:cubicBezTo>
                    <a:pt x="1444" y="288"/>
                    <a:pt x="1441" y="283"/>
                    <a:pt x="1444" y="284"/>
                  </a:cubicBezTo>
                  <a:cubicBezTo>
                    <a:pt x="1444" y="290"/>
                    <a:pt x="1454" y="291"/>
                    <a:pt x="1456" y="289"/>
                  </a:cubicBezTo>
                  <a:cubicBezTo>
                    <a:pt x="1458" y="291"/>
                    <a:pt x="1455" y="292"/>
                    <a:pt x="1456" y="295"/>
                  </a:cubicBezTo>
                  <a:cubicBezTo>
                    <a:pt x="1462" y="296"/>
                    <a:pt x="1461" y="304"/>
                    <a:pt x="1468" y="306"/>
                  </a:cubicBezTo>
                  <a:cubicBezTo>
                    <a:pt x="1472" y="301"/>
                    <a:pt x="1466" y="298"/>
                    <a:pt x="1467" y="295"/>
                  </a:cubicBezTo>
                  <a:cubicBezTo>
                    <a:pt x="1469" y="297"/>
                    <a:pt x="1469" y="295"/>
                    <a:pt x="1472" y="296"/>
                  </a:cubicBezTo>
                  <a:cubicBezTo>
                    <a:pt x="1472" y="298"/>
                    <a:pt x="1474" y="298"/>
                    <a:pt x="1473" y="301"/>
                  </a:cubicBezTo>
                  <a:cubicBezTo>
                    <a:pt x="1472" y="301"/>
                    <a:pt x="1472" y="300"/>
                    <a:pt x="1470" y="300"/>
                  </a:cubicBezTo>
                  <a:cubicBezTo>
                    <a:pt x="1470" y="306"/>
                    <a:pt x="1475" y="306"/>
                    <a:pt x="1476" y="311"/>
                  </a:cubicBezTo>
                  <a:cubicBezTo>
                    <a:pt x="1478" y="312"/>
                    <a:pt x="1478" y="310"/>
                    <a:pt x="1479" y="310"/>
                  </a:cubicBezTo>
                  <a:cubicBezTo>
                    <a:pt x="1484" y="311"/>
                    <a:pt x="1483" y="317"/>
                    <a:pt x="1488" y="318"/>
                  </a:cubicBezTo>
                  <a:cubicBezTo>
                    <a:pt x="1491" y="309"/>
                    <a:pt x="1477" y="305"/>
                    <a:pt x="1477" y="300"/>
                  </a:cubicBezTo>
                  <a:cubicBezTo>
                    <a:pt x="1483" y="304"/>
                    <a:pt x="1486" y="309"/>
                    <a:pt x="1494" y="311"/>
                  </a:cubicBezTo>
                  <a:cubicBezTo>
                    <a:pt x="1486" y="299"/>
                    <a:pt x="1477" y="287"/>
                    <a:pt x="1459" y="284"/>
                  </a:cubicBezTo>
                  <a:cubicBezTo>
                    <a:pt x="1456" y="276"/>
                    <a:pt x="1452" y="269"/>
                    <a:pt x="1446" y="263"/>
                  </a:cubicBezTo>
                  <a:cubicBezTo>
                    <a:pt x="1446" y="266"/>
                    <a:pt x="1450" y="268"/>
                    <a:pt x="1447" y="269"/>
                  </a:cubicBezTo>
                  <a:cubicBezTo>
                    <a:pt x="1438" y="262"/>
                    <a:pt x="1428" y="252"/>
                    <a:pt x="1423" y="240"/>
                  </a:cubicBezTo>
                  <a:cubicBezTo>
                    <a:pt x="1423" y="239"/>
                    <a:pt x="1424" y="237"/>
                    <a:pt x="1424" y="237"/>
                  </a:cubicBezTo>
                  <a:cubicBezTo>
                    <a:pt x="1423" y="232"/>
                    <a:pt x="1416" y="223"/>
                    <a:pt x="1414" y="226"/>
                  </a:cubicBezTo>
                  <a:close/>
                  <a:moveTo>
                    <a:pt x="1519" y="325"/>
                  </a:moveTo>
                  <a:cubicBezTo>
                    <a:pt x="1520" y="328"/>
                    <a:pt x="1521" y="329"/>
                    <a:pt x="1524" y="330"/>
                  </a:cubicBezTo>
                  <a:cubicBezTo>
                    <a:pt x="1524" y="326"/>
                    <a:pt x="1521" y="326"/>
                    <a:pt x="1519" y="325"/>
                  </a:cubicBezTo>
                  <a:close/>
                  <a:moveTo>
                    <a:pt x="928" y="336"/>
                  </a:moveTo>
                  <a:cubicBezTo>
                    <a:pt x="928" y="340"/>
                    <a:pt x="935" y="341"/>
                    <a:pt x="934" y="335"/>
                  </a:cubicBezTo>
                  <a:cubicBezTo>
                    <a:pt x="931" y="335"/>
                    <a:pt x="929" y="335"/>
                    <a:pt x="928" y="336"/>
                  </a:cubicBezTo>
                  <a:close/>
                  <a:moveTo>
                    <a:pt x="913" y="346"/>
                  </a:moveTo>
                  <a:cubicBezTo>
                    <a:pt x="916" y="348"/>
                    <a:pt x="922" y="346"/>
                    <a:pt x="922" y="341"/>
                  </a:cubicBezTo>
                  <a:cubicBezTo>
                    <a:pt x="920" y="333"/>
                    <a:pt x="913" y="340"/>
                    <a:pt x="913" y="346"/>
                  </a:cubicBezTo>
                  <a:close/>
                  <a:moveTo>
                    <a:pt x="901" y="344"/>
                  </a:moveTo>
                  <a:cubicBezTo>
                    <a:pt x="904" y="350"/>
                    <a:pt x="894" y="346"/>
                    <a:pt x="893" y="351"/>
                  </a:cubicBezTo>
                  <a:cubicBezTo>
                    <a:pt x="898" y="355"/>
                    <a:pt x="903" y="351"/>
                    <a:pt x="908" y="349"/>
                  </a:cubicBezTo>
                  <a:cubicBezTo>
                    <a:pt x="908" y="345"/>
                    <a:pt x="903" y="346"/>
                    <a:pt x="901" y="344"/>
                  </a:cubicBezTo>
                  <a:close/>
                  <a:moveTo>
                    <a:pt x="901" y="357"/>
                  </a:moveTo>
                  <a:cubicBezTo>
                    <a:pt x="896" y="354"/>
                    <a:pt x="890" y="358"/>
                    <a:pt x="884" y="357"/>
                  </a:cubicBezTo>
                  <a:cubicBezTo>
                    <a:pt x="875" y="364"/>
                    <a:pt x="895" y="369"/>
                    <a:pt x="901" y="364"/>
                  </a:cubicBezTo>
                  <a:cubicBezTo>
                    <a:pt x="899" y="360"/>
                    <a:pt x="897" y="360"/>
                    <a:pt x="901" y="357"/>
                  </a:cubicBezTo>
                  <a:close/>
                  <a:moveTo>
                    <a:pt x="138" y="415"/>
                  </a:moveTo>
                  <a:cubicBezTo>
                    <a:pt x="134" y="415"/>
                    <a:pt x="133" y="417"/>
                    <a:pt x="132" y="420"/>
                  </a:cubicBezTo>
                  <a:cubicBezTo>
                    <a:pt x="136" y="421"/>
                    <a:pt x="137" y="417"/>
                    <a:pt x="138" y="415"/>
                  </a:cubicBezTo>
                  <a:close/>
                  <a:moveTo>
                    <a:pt x="130" y="417"/>
                  </a:moveTo>
                  <a:cubicBezTo>
                    <a:pt x="128" y="421"/>
                    <a:pt x="124" y="422"/>
                    <a:pt x="124" y="429"/>
                  </a:cubicBezTo>
                  <a:cubicBezTo>
                    <a:pt x="129" y="428"/>
                    <a:pt x="130" y="419"/>
                    <a:pt x="130" y="417"/>
                  </a:cubicBezTo>
                  <a:close/>
                  <a:moveTo>
                    <a:pt x="1576" y="428"/>
                  </a:moveTo>
                  <a:cubicBezTo>
                    <a:pt x="1578" y="441"/>
                    <a:pt x="1584" y="458"/>
                    <a:pt x="1592" y="468"/>
                  </a:cubicBezTo>
                  <a:cubicBezTo>
                    <a:pt x="1593" y="451"/>
                    <a:pt x="1585" y="437"/>
                    <a:pt x="1576" y="428"/>
                  </a:cubicBezTo>
                  <a:close/>
                  <a:moveTo>
                    <a:pt x="128" y="436"/>
                  </a:moveTo>
                  <a:cubicBezTo>
                    <a:pt x="127" y="439"/>
                    <a:pt x="123" y="443"/>
                    <a:pt x="124" y="446"/>
                  </a:cubicBezTo>
                  <a:cubicBezTo>
                    <a:pt x="126" y="443"/>
                    <a:pt x="132" y="441"/>
                    <a:pt x="128" y="436"/>
                  </a:cubicBezTo>
                  <a:close/>
                  <a:moveTo>
                    <a:pt x="118" y="437"/>
                  </a:moveTo>
                  <a:cubicBezTo>
                    <a:pt x="117" y="444"/>
                    <a:pt x="110" y="450"/>
                    <a:pt x="111" y="455"/>
                  </a:cubicBezTo>
                  <a:cubicBezTo>
                    <a:pt x="113" y="450"/>
                    <a:pt x="121" y="441"/>
                    <a:pt x="118" y="437"/>
                  </a:cubicBezTo>
                  <a:close/>
                  <a:moveTo>
                    <a:pt x="112" y="495"/>
                  </a:moveTo>
                  <a:cubicBezTo>
                    <a:pt x="113" y="473"/>
                    <a:pt x="139" y="464"/>
                    <a:pt x="146" y="448"/>
                  </a:cubicBezTo>
                  <a:cubicBezTo>
                    <a:pt x="150" y="447"/>
                    <a:pt x="157" y="446"/>
                    <a:pt x="163" y="444"/>
                  </a:cubicBezTo>
                  <a:cubicBezTo>
                    <a:pt x="154" y="432"/>
                    <a:pt x="144" y="446"/>
                    <a:pt x="135" y="450"/>
                  </a:cubicBezTo>
                  <a:cubicBezTo>
                    <a:pt x="128" y="463"/>
                    <a:pt x="116" y="465"/>
                    <a:pt x="111" y="481"/>
                  </a:cubicBezTo>
                  <a:cubicBezTo>
                    <a:pt x="102" y="487"/>
                    <a:pt x="98" y="497"/>
                    <a:pt x="92" y="505"/>
                  </a:cubicBezTo>
                  <a:cubicBezTo>
                    <a:pt x="103" y="506"/>
                    <a:pt x="103" y="496"/>
                    <a:pt x="112" y="495"/>
                  </a:cubicBezTo>
                  <a:close/>
                  <a:moveTo>
                    <a:pt x="146" y="459"/>
                  </a:moveTo>
                  <a:cubicBezTo>
                    <a:pt x="148" y="459"/>
                    <a:pt x="150" y="459"/>
                    <a:pt x="149" y="455"/>
                  </a:cubicBezTo>
                  <a:cubicBezTo>
                    <a:pt x="146" y="455"/>
                    <a:pt x="145" y="456"/>
                    <a:pt x="146" y="459"/>
                  </a:cubicBezTo>
                  <a:close/>
                  <a:moveTo>
                    <a:pt x="92" y="496"/>
                  </a:moveTo>
                  <a:cubicBezTo>
                    <a:pt x="88" y="495"/>
                    <a:pt x="89" y="499"/>
                    <a:pt x="88" y="502"/>
                  </a:cubicBezTo>
                  <a:cubicBezTo>
                    <a:pt x="91" y="502"/>
                    <a:pt x="92" y="499"/>
                    <a:pt x="92" y="496"/>
                  </a:cubicBezTo>
                  <a:close/>
                  <a:moveTo>
                    <a:pt x="1606" y="540"/>
                  </a:moveTo>
                  <a:cubicBezTo>
                    <a:pt x="1603" y="524"/>
                    <a:pt x="1602" y="509"/>
                    <a:pt x="1589" y="502"/>
                  </a:cubicBezTo>
                  <a:cubicBezTo>
                    <a:pt x="1587" y="522"/>
                    <a:pt x="1598" y="536"/>
                    <a:pt x="1598" y="554"/>
                  </a:cubicBezTo>
                  <a:cubicBezTo>
                    <a:pt x="1594" y="553"/>
                    <a:pt x="1591" y="549"/>
                    <a:pt x="1586" y="549"/>
                  </a:cubicBezTo>
                  <a:cubicBezTo>
                    <a:pt x="1582" y="552"/>
                    <a:pt x="1581" y="563"/>
                    <a:pt x="1588" y="564"/>
                  </a:cubicBezTo>
                  <a:cubicBezTo>
                    <a:pt x="1590" y="562"/>
                    <a:pt x="1589" y="557"/>
                    <a:pt x="1591" y="555"/>
                  </a:cubicBezTo>
                  <a:cubicBezTo>
                    <a:pt x="1593" y="557"/>
                    <a:pt x="1592" y="560"/>
                    <a:pt x="1593" y="561"/>
                  </a:cubicBezTo>
                  <a:cubicBezTo>
                    <a:pt x="1597" y="562"/>
                    <a:pt x="1596" y="559"/>
                    <a:pt x="1599" y="559"/>
                  </a:cubicBezTo>
                  <a:cubicBezTo>
                    <a:pt x="1606" y="564"/>
                    <a:pt x="1595" y="578"/>
                    <a:pt x="1604" y="582"/>
                  </a:cubicBezTo>
                  <a:cubicBezTo>
                    <a:pt x="1603" y="575"/>
                    <a:pt x="1609" y="569"/>
                    <a:pt x="1603" y="565"/>
                  </a:cubicBezTo>
                  <a:cubicBezTo>
                    <a:pt x="1607" y="560"/>
                    <a:pt x="1609" y="552"/>
                    <a:pt x="1610" y="543"/>
                  </a:cubicBezTo>
                  <a:cubicBezTo>
                    <a:pt x="1609" y="541"/>
                    <a:pt x="1607" y="541"/>
                    <a:pt x="1606" y="540"/>
                  </a:cubicBezTo>
                  <a:close/>
                  <a:moveTo>
                    <a:pt x="99" y="526"/>
                  </a:moveTo>
                  <a:cubicBezTo>
                    <a:pt x="103" y="523"/>
                    <a:pt x="110" y="519"/>
                    <a:pt x="112" y="511"/>
                  </a:cubicBezTo>
                  <a:cubicBezTo>
                    <a:pt x="106" y="513"/>
                    <a:pt x="98" y="519"/>
                    <a:pt x="99" y="526"/>
                  </a:cubicBezTo>
                  <a:close/>
                  <a:moveTo>
                    <a:pt x="73" y="545"/>
                  </a:moveTo>
                  <a:cubicBezTo>
                    <a:pt x="73" y="537"/>
                    <a:pt x="80" y="533"/>
                    <a:pt x="85" y="533"/>
                  </a:cubicBezTo>
                  <a:cubicBezTo>
                    <a:pt x="86" y="529"/>
                    <a:pt x="88" y="528"/>
                    <a:pt x="89" y="524"/>
                  </a:cubicBezTo>
                  <a:cubicBezTo>
                    <a:pt x="85" y="523"/>
                    <a:pt x="83" y="529"/>
                    <a:pt x="81" y="527"/>
                  </a:cubicBezTo>
                  <a:cubicBezTo>
                    <a:pt x="82" y="521"/>
                    <a:pt x="86" y="517"/>
                    <a:pt x="88" y="512"/>
                  </a:cubicBezTo>
                  <a:cubicBezTo>
                    <a:pt x="73" y="520"/>
                    <a:pt x="67" y="536"/>
                    <a:pt x="59" y="551"/>
                  </a:cubicBezTo>
                  <a:cubicBezTo>
                    <a:pt x="65" y="550"/>
                    <a:pt x="66" y="542"/>
                    <a:pt x="73" y="545"/>
                  </a:cubicBezTo>
                  <a:close/>
                  <a:moveTo>
                    <a:pt x="1658" y="557"/>
                  </a:moveTo>
                  <a:cubicBezTo>
                    <a:pt x="1659" y="547"/>
                    <a:pt x="1652" y="532"/>
                    <a:pt x="1645" y="530"/>
                  </a:cubicBezTo>
                  <a:cubicBezTo>
                    <a:pt x="1650" y="539"/>
                    <a:pt x="1650" y="552"/>
                    <a:pt x="1658" y="557"/>
                  </a:cubicBezTo>
                  <a:close/>
                  <a:moveTo>
                    <a:pt x="53" y="556"/>
                  </a:moveTo>
                  <a:cubicBezTo>
                    <a:pt x="53" y="562"/>
                    <a:pt x="47" y="562"/>
                    <a:pt x="47" y="569"/>
                  </a:cubicBezTo>
                  <a:cubicBezTo>
                    <a:pt x="50" y="570"/>
                    <a:pt x="56" y="561"/>
                    <a:pt x="53" y="556"/>
                  </a:cubicBezTo>
                  <a:close/>
                  <a:moveTo>
                    <a:pt x="1578" y="581"/>
                  </a:moveTo>
                  <a:cubicBezTo>
                    <a:pt x="1575" y="583"/>
                    <a:pt x="1573" y="586"/>
                    <a:pt x="1574" y="592"/>
                  </a:cubicBezTo>
                  <a:cubicBezTo>
                    <a:pt x="1579" y="593"/>
                    <a:pt x="1579" y="589"/>
                    <a:pt x="1582" y="588"/>
                  </a:cubicBezTo>
                  <a:cubicBezTo>
                    <a:pt x="1584" y="592"/>
                    <a:pt x="1583" y="598"/>
                    <a:pt x="1586" y="601"/>
                  </a:cubicBezTo>
                  <a:cubicBezTo>
                    <a:pt x="1586" y="598"/>
                    <a:pt x="1584" y="593"/>
                    <a:pt x="1587" y="592"/>
                  </a:cubicBezTo>
                  <a:cubicBezTo>
                    <a:pt x="1592" y="600"/>
                    <a:pt x="1584" y="615"/>
                    <a:pt x="1595" y="617"/>
                  </a:cubicBezTo>
                  <a:cubicBezTo>
                    <a:pt x="1597" y="608"/>
                    <a:pt x="1590" y="604"/>
                    <a:pt x="1593" y="597"/>
                  </a:cubicBezTo>
                  <a:cubicBezTo>
                    <a:pt x="1596" y="597"/>
                    <a:pt x="1596" y="601"/>
                    <a:pt x="1598" y="599"/>
                  </a:cubicBezTo>
                  <a:cubicBezTo>
                    <a:pt x="1598" y="592"/>
                    <a:pt x="1597" y="587"/>
                    <a:pt x="1596" y="582"/>
                  </a:cubicBezTo>
                  <a:cubicBezTo>
                    <a:pt x="1595" y="581"/>
                    <a:pt x="1592" y="583"/>
                    <a:pt x="1588" y="582"/>
                  </a:cubicBezTo>
                  <a:cubicBezTo>
                    <a:pt x="1587" y="586"/>
                    <a:pt x="1593" y="589"/>
                    <a:pt x="1589" y="592"/>
                  </a:cubicBezTo>
                  <a:cubicBezTo>
                    <a:pt x="1588" y="590"/>
                    <a:pt x="1586" y="581"/>
                    <a:pt x="1584" y="586"/>
                  </a:cubicBezTo>
                  <a:cubicBezTo>
                    <a:pt x="1582" y="581"/>
                    <a:pt x="1578" y="579"/>
                    <a:pt x="1577" y="574"/>
                  </a:cubicBezTo>
                  <a:cubicBezTo>
                    <a:pt x="1579" y="573"/>
                    <a:pt x="1581" y="572"/>
                    <a:pt x="1583" y="572"/>
                  </a:cubicBezTo>
                  <a:cubicBezTo>
                    <a:pt x="1579" y="549"/>
                    <a:pt x="1561" y="585"/>
                    <a:pt x="1578" y="581"/>
                  </a:cubicBezTo>
                  <a:close/>
                  <a:moveTo>
                    <a:pt x="1587" y="632"/>
                  </a:moveTo>
                  <a:cubicBezTo>
                    <a:pt x="1590" y="635"/>
                    <a:pt x="1593" y="642"/>
                    <a:pt x="1598" y="640"/>
                  </a:cubicBezTo>
                  <a:cubicBezTo>
                    <a:pt x="1597" y="631"/>
                    <a:pt x="1590" y="628"/>
                    <a:pt x="1588" y="620"/>
                  </a:cubicBezTo>
                  <a:cubicBezTo>
                    <a:pt x="1578" y="618"/>
                    <a:pt x="1579" y="606"/>
                    <a:pt x="1572" y="600"/>
                  </a:cubicBezTo>
                  <a:cubicBezTo>
                    <a:pt x="1573" y="599"/>
                    <a:pt x="1575" y="599"/>
                    <a:pt x="1574" y="596"/>
                  </a:cubicBezTo>
                  <a:cubicBezTo>
                    <a:pt x="1570" y="593"/>
                    <a:pt x="1569" y="599"/>
                    <a:pt x="1565" y="599"/>
                  </a:cubicBezTo>
                  <a:cubicBezTo>
                    <a:pt x="1568" y="613"/>
                    <a:pt x="1561" y="624"/>
                    <a:pt x="1568" y="633"/>
                  </a:cubicBezTo>
                  <a:cubicBezTo>
                    <a:pt x="1569" y="632"/>
                    <a:pt x="1569" y="630"/>
                    <a:pt x="1571" y="629"/>
                  </a:cubicBezTo>
                  <a:cubicBezTo>
                    <a:pt x="1574" y="635"/>
                    <a:pt x="1569" y="638"/>
                    <a:pt x="1570" y="645"/>
                  </a:cubicBezTo>
                  <a:cubicBezTo>
                    <a:pt x="1579" y="651"/>
                    <a:pt x="1586" y="643"/>
                    <a:pt x="1587" y="632"/>
                  </a:cubicBezTo>
                  <a:close/>
                  <a:moveTo>
                    <a:pt x="1579" y="595"/>
                  </a:moveTo>
                  <a:cubicBezTo>
                    <a:pt x="1580" y="597"/>
                    <a:pt x="1579" y="601"/>
                    <a:pt x="1583" y="600"/>
                  </a:cubicBezTo>
                  <a:cubicBezTo>
                    <a:pt x="1583" y="598"/>
                    <a:pt x="1583" y="596"/>
                    <a:pt x="1582" y="595"/>
                  </a:cubicBezTo>
                  <a:lnTo>
                    <a:pt x="1579" y="595"/>
                  </a:lnTo>
                  <a:close/>
                  <a:moveTo>
                    <a:pt x="1613" y="598"/>
                  </a:moveTo>
                  <a:cubicBezTo>
                    <a:pt x="1612" y="620"/>
                    <a:pt x="1625" y="632"/>
                    <a:pt x="1631" y="649"/>
                  </a:cubicBezTo>
                  <a:cubicBezTo>
                    <a:pt x="1629" y="634"/>
                    <a:pt x="1621" y="624"/>
                    <a:pt x="1616" y="612"/>
                  </a:cubicBezTo>
                  <a:cubicBezTo>
                    <a:pt x="1620" y="608"/>
                    <a:pt x="1616" y="600"/>
                    <a:pt x="1613" y="598"/>
                  </a:cubicBezTo>
                  <a:close/>
                  <a:moveTo>
                    <a:pt x="54" y="629"/>
                  </a:moveTo>
                  <a:cubicBezTo>
                    <a:pt x="55" y="628"/>
                    <a:pt x="58" y="623"/>
                    <a:pt x="55" y="621"/>
                  </a:cubicBezTo>
                  <a:cubicBezTo>
                    <a:pt x="55" y="623"/>
                    <a:pt x="52" y="627"/>
                    <a:pt x="54" y="629"/>
                  </a:cubicBezTo>
                  <a:close/>
                  <a:moveTo>
                    <a:pt x="1310" y="675"/>
                  </a:moveTo>
                  <a:cubicBezTo>
                    <a:pt x="1314" y="674"/>
                    <a:pt x="1312" y="666"/>
                    <a:pt x="1314" y="662"/>
                  </a:cubicBezTo>
                  <a:cubicBezTo>
                    <a:pt x="1323" y="662"/>
                    <a:pt x="1324" y="654"/>
                    <a:pt x="1334" y="655"/>
                  </a:cubicBezTo>
                  <a:cubicBezTo>
                    <a:pt x="1334" y="652"/>
                    <a:pt x="1334" y="648"/>
                    <a:pt x="1331" y="648"/>
                  </a:cubicBezTo>
                  <a:cubicBezTo>
                    <a:pt x="1324" y="656"/>
                    <a:pt x="1293" y="662"/>
                    <a:pt x="1310" y="675"/>
                  </a:cubicBezTo>
                  <a:close/>
                  <a:moveTo>
                    <a:pt x="1601" y="655"/>
                  </a:moveTo>
                  <a:cubicBezTo>
                    <a:pt x="1600" y="653"/>
                    <a:pt x="1601" y="649"/>
                    <a:pt x="1597" y="649"/>
                  </a:cubicBezTo>
                  <a:cubicBezTo>
                    <a:pt x="1595" y="651"/>
                    <a:pt x="1596" y="656"/>
                    <a:pt x="1598" y="657"/>
                  </a:cubicBezTo>
                  <a:cubicBezTo>
                    <a:pt x="1598" y="656"/>
                    <a:pt x="1600" y="656"/>
                    <a:pt x="1601" y="655"/>
                  </a:cubicBezTo>
                  <a:close/>
                  <a:moveTo>
                    <a:pt x="1561" y="650"/>
                  </a:moveTo>
                  <a:cubicBezTo>
                    <a:pt x="1560" y="654"/>
                    <a:pt x="1561" y="658"/>
                    <a:pt x="1564" y="659"/>
                  </a:cubicBezTo>
                  <a:cubicBezTo>
                    <a:pt x="1563" y="656"/>
                    <a:pt x="1565" y="650"/>
                    <a:pt x="1561" y="650"/>
                  </a:cubicBezTo>
                  <a:close/>
                  <a:moveTo>
                    <a:pt x="1376" y="658"/>
                  </a:moveTo>
                  <a:cubicBezTo>
                    <a:pt x="1375" y="655"/>
                    <a:pt x="1373" y="652"/>
                    <a:pt x="1369" y="652"/>
                  </a:cubicBezTo>
                  <a:cubicBezTo>
                    <a:pt x="1365" y="657"/>
                    <a:pt x="1372" y="661"/>
                    <a:pt x="1376" y="658"/>
                  </a:cubicBezTo>
                  <a:close/>
                  <a:moveTo>
                    <a:pt x="1573" y="656"/>
                  </a:moveTo>
                  <a:cubicBezTo>
                    <a:pt x="1573" y="659"/>
                    <a:pt x="1574" y="660"/>
                    <a:pt x="1575" y="661"/>
                  </a:cubicBezTo>
                  <a:cubicBezTo>
                    <a:pt x="1577" y="659"/>
                    <a:pt x="1576" y="655"/>
                    <a:pt x="1573" y="656"/>
                  </a:cubicBezTo>
                  <a:close/>
                  <a:moveTo>
                    <a:pt x="1606" y="656"/>
                  </a:moveTo>
                  <a:cubicBezTo>
                    <a:pt x="1606" y="659"/>
                    <a:pt x="1607" y="661"/>
                    <a:pt x="1609" y="663"/>
                  </a:cubicBezTo>
                  <a:cubicBezTo>
                    <a:pt x="1611" y="661"/>
                    <a:pt x="1608" y="659"/>
                    <a:pt x="1609" y="656"/>
                  </a:cubicBezTo>
                  <a:lnTo>
                    <a:pt x="1606" y="656"/>
                  </a:lnTo>
                  <a:close/>
                  <a:moveTo>
                    <a:pt x="1623" y="742"/>
                  </a:moveTo>
                  <a:cubicBezTo>
                    <a:pt x="1623" y="744"/>
                    <a:pt x="1619" y="741"/>
                    <a:pt x="1620" y="744"/>
                  </a:cubicBezTo>
                  <a:cubicBezTo>
                    <a:pt x="1621" y="755"/>
                    <a:pt x="1634" y="764"/>
                    <a:pt x="1624" y="774"/>
                  </a:cubicBezTo>
                  <a:cubicBezTo>
                    <a:pt x="1626" y="789"/>
                    <a:pt x="1627" y="807"/>
                    <a:pt x="1635" y="816"/>
                  </a:cubicBezTo>
                  <a:cubicBezTo>
                    <a:pt x="1634" y="813"/>
                    <a:pt x="1634" y="809"/>
                    <a:pt x="1636" y="806"/>
                  </a:cubicBezTo>
                  <a:cubicBezTo>
                    <a:pt x="1639" y="807"/>
                    <a:pt x="1640" y="812"/>
                    <a:pt x="1643" y="814"/>
                  </a:cubicBezTo>
                  <a:cubicBezTo>
                    <a:pt x="1644" y="812"/>
                    <a:pt x="1644" y="809"/>
                    <a:pt x="1646" y="810"/>
                  </a:cubicBezTo>
                  <a:cubicBezTo>
                    <a:pt x="1647" y="814"/>
                    <a:pt x="1649" y="818"/>
                    <a:pt x="1652" y="820"/>
                  </a:cubicBezTo>
                  <a:cubicBezTo>
                    <a:pt x="1652" y="817"/>
                    <a:pt x="1652" y="814"/>
                    <a:pt x="1654" y="813"/>
                  </a:cubicBezTo>
                  <a:cubicBezTo>
                    <a:pt x="1654" y="819"/>
                    <a:pt x="1656" y="822"/>
                    <a:pt x="1660" y="824"/>
                  </a:cubicBezTo>
                  <a:cubicBezTo>
                    <a:pt x="1662" y="802"/>
                    <a:pt x="1680" y="782"/>
                    <a:pt x="1666" y="762"/>
                  </a:cubicBezTo>
                  <a:cubicBezTo>
                    <a:pt x="1665" y="761"/>
                    <a:pt x="1661" y="763"/>
                    <a:pt x="1661" y="761"/>
                  </a:cubicBezTo>
                  <a:cubicBezTo>
                    <a:pt x="1665" y="735"/>
                    <a:pt x="1644" y="720"/>
                    <a:pt x="1644" y="691"/>
                  </a:cubicBezTo>
                  <a:cubicBezTo>
                    <a:pt x="1634" y="685"/>
                    <a:pt x="1638" y="666"/>
                    <a:pt x="1630" y="658"/>
                  </a:cubicBezTo>
                  <a:cubicBezTo>
                    <a:pt x="1627" y="666"/>
                    <a:pt x="1621" y="668"/>
                    <a:pt x="1614" y="671"/>
                  </a:cubicBezTo>
                  <a:cubicBezTo>
                    <a:pt x="1614" y="677"/>
                    <a:pt x="1618" y="677"/>
                    <a:pt x="1621" y="680"/>
                  </a:cubicBezTo>
                  <a:cubicBezTo>
                    <a:pt x="1622" y="684"/>
                    <a:pt x="1618" y="683"/>
                    <a:pt x="1619" y="687"/>
                  </a:cubicBezTo>
                  <a:cubicBezTo>
                    <a:pt x="1621" y="689"/>
                    <a:pt x="1624" y="689"/>
                    <a:pt x="1625" y="690"/>
                  </a:cubicBezTo>
                  <a:cubicBezTo>
                    <a:pt x="1623" y="696"/>
                    <a:pt x="1628" y="708"/>
                    <a:pt x="1620" y="710"/>
                  </a:cubicBezTo>
                  <a:cubicBezTo>
                    <a:pt x="1620" y="714"/>
                    <a:pt x="1621" y="715"/>
                    <a:pt x="1621" y="719"/>
                  </a:cubicBezTo>
                  <a:cubicBezTo>
                    <a:pt x="1618" y="721"/>
                    <a:pt x="1616" y="726"/>
                    <a:pt x="1614" y="731"/>
                  </a:cubicBezTo>
                  <a:cubicBezTo>
                    <a:pt x="1617" y="735"/>
                    <a:pt x="1623" y="735"/>
                    <a:pt x="1623" y="742"/>
                  </a:cubicBezTo>
                  <a:close/>
                  <a:moveTo>
                    <a:pt x="1548" y="668"/>
                  </a:moveTo>
                  <a:cubicBezTo>
                    <a:pt x="1547" y="667"/>
                    <a:pt x="1547" y="667"/>
                    <a:pt x="1547" y="666"/>
                  </a:cubicBezTo>
                  <a:cubicBezTo>
                    <a:pt x="1542" y="666"/>
                    <a:pt x="1542" y="666"/>
                    <a:pt x="1542" y="666"/>
                  </a:cubicBezTo>
                  <a:cubicBezTo>
                    <a:pt x="1542" y="668"/>
                    <a:pt x="1542" y="670"/>
                    <a:pt x="1543" y="671"/>
                  </a:cubicBezTo>
                  <a:cubicBezTo>
                    <a:pt x="1546" y="672"/>
                    <a:pt x="1548" y="670"/>
                    <a:pt x="1548" y="668"/>
                  </a:cubicBezTo>
                  <a:close/>
                  <a:moveTo>
                    <a:pt x="1350" y="702"/>
                  </a:moveTo>
                  <a:cubicBezTo>
                    <a:pt x="1351" y="700"/>
                    <a:pt x="1354" y="700"/>
                    <a:pt x="1353" y="697"/>
                  </a:cubicBezTo>
                  <a:cubicBezTo>
                    <a:pt x="1346" y="688"/>
                    <a:pt x="1330" y="688"/>
                    <a:pt x="1324" y="677"/>
                  </a:cubicBezTo>
                  <a:cubicBezTo>
                    <a:pt x="1325" y="675"/>
                    <a:pt x="1329" y="676"/>
                    <a:pt x="1328" y="672"/>
                  </a:cubicBezTo>
                  <a:cubicBezTo>
                    <a:pt x="1326" y="669"/>
                    <a:pt x="1324" y="666"/>
                    <a:pt x="1317" y="667"/>
                  </a:cubicBezTo>
                  <a:cubicBezTo>
                    <a:pt x="1310" y="689"/>
                    <a:pt x="1330" y="700"/>
                    <a:pt x="1350" y="702"/>
                  </a:cubicBezTo>
                  <a:close/>
                  <a:moveTo>
                    <a:pt x="1274" y="691"/>
                  </a:moveTo>
                  <a:cubicBezTo>
                    <a:pt x="1282" y="690"/>
                    <a:pt x="1291" y="682"/>
                    <a:pt x="1293" y="671"/>
                  </a:cubicBezTo>
                  <a:cubicBezTo>
                    <a:pt x="1287" y="669"/>
                    <a:pt x="1272" y="680"/>
                    <a:pt x="1274" y="691"/>
                  </a:cubicBezTo>
                  <a:close/>
                  <a:moveTo>
                    <a:pt x="1541" y="696"/>
                  </a:moveTo>
                  <a:cubicBezTo>
                    <a:pt x="1546" y="696"/>
                    <a:pt x="1547" y="698"/>
                    <a:pt x="1547" y="702"/>
                  </a:cubicBezTo>
                  <a:cubicBezTo>
                    <a:pt x="1547" y="705"/>
                    <a:pt x="1542" y="703"/>
                    <a:pt x="1542" y="707"/>
                  </a:cubicBezTo>
                  <a:cubicBezTo>
                    <a:pt x="1546" y="712"/>
                    <a:pt x="1552" y="706"/>
                    <a:pt x="1555" y="704"/>
                  </a:cubicBezTo>
                  <a:cubicBezTo>
                    <a:pt x="1558" y="695"/>
                    <a:pt x="1557" y="681"/>
                    <a:pt x="1550" y="672"/>
                  </a:cubicBezTo>
                  <a:cubicBezTo>
                    <a:pt x="1548" y="680"/>
                    <a:pt x="1553" y="687"/>
                    <a:pt x="1551" y="692"/>
                  </a:cubicBezTo>
                  <a:cubicBezTo>
                    <a:pt x="1546" y="691"/>
                    <a:pt x="1549" y="682"/>
                    <a:pt x="1541" y="684"/>
                  </a:cubicBezTo>
                  <a:cubicBezTo>
                    <a:pt x="1540" y="689"/>
                    <a:pt x="1542" y="692"/>
                    <a:pt x="1541" y="696"/>
                  </a:cubicBezTo>
                  <a:close/>
                  <a:moveTo>
                    <a:pt x="207" y="678"/>
                  </a:moveTo>
                  <a:cubicBezTo>
                    <a:pt x="204" y="678"/>
                    <a:pt x="204" y="678"/>
                    <a:pt x="204" y="678"/>
                  </a:cubicBezTo>
                  <a:cubicBezTo>
                    <a:pt x="204" y="683"/>
                    <a:pt x="201" y="684"/>
                    <a:pt x="198" y="684"/>
                  </a:cubicBezTo>
                  <a:cubicBezTo>
                    <a:pt x="198" y="688"/>
                    <a:pt x="198" y="688"/>
                    <a:pt x="198" y="688"/>
                  </a:cubicBezTo>
                  <a:cubicBezTo>
                    <a:pt x="203" y="686"/>
                    <a:pt x="200" y="692"/>
                    <a:pt x="202" y="694"/>
                  </a:cubicBezTo>
                  <a:cubicBezTo>
                    <a:pt x="204" y="694"/>
                    <a:pt x="206" y="693"/>
                    <a:pt x="207" y="693"/>
                  </a:cubicBezTo>
                  <a:cubicBezTo>
                    <a:pt x="208" y="689"/>
                    <a:pt x="206" y="687"/>
                    <a:pt x="205" y="686"/>
                  </a:cubicBezTo>
                  <a:cubicBezTo>
                    <a:pt x="212" y="685"/>
                    <a:pt x="204" y="681"/>
                    <a:pt x="207" y="678"/>
                  </a:cubicBezTo>
                  <a:close/>
                  <a:moveTo>
                    <a:pt x="1525" y="706"/>
                  </a:moveTo>
                  <a:cubicBezTo>
                    <a:pt x="1526" y="704"/>
                    <a:pt x="1528" y="703"/>
                    <a:pt x="1527" y="699"/>
                  </a:cubicBezTo>
                  <a:cubicBezTo>
                    <a:pt x="1525" y="697"/>
                    <a:pt x="1525" y="701"/>
                    <a:pt x="1522" y="700"/>
                  </a:cubicBezTo>
                  <a:cubicBezTo>
                    <a:pt x="1519" y="695"/>
                    <a:pt x="1516" y="689"/>
                    <a:pt x="1511" y="685"/>
                  </a:cubicBezTo>
                  <a:cubicBezTo>
                    <a:pt x="1506" y="687"/>
                    <a:pt x="1501" y="686"/>
                    <a:pt x="1497" y="687"/>
                  </a:cubicBezTo>
                  <a:cubicBezTo>
                    <a:pt x="1494" y="692"/>
                    <a:pt x="1496" y="701"/>
                    <a:pt x="1492" y="706"/>
                  </a:cubicBezTo>
                  <a:cubicBezTo>
                    <a:pt x="1491" y="706"/>
                    <a:pt x="1491" y="704"/>
                    <a:pt x="1490" y="704"/>
                  </a:cubicBezTo>
                  <a:cubicBezTo>
                    <a:pt x="1489" y="708"/>
                    <a:pt x="1489" y="710"/>
                    <a:pt x="1486" y="711"/>
                  </a:cubicBezTo>
                  <a:cubicBezTo>
                    <a:pt x="1479" y="708"/>
                    <a:pt x="1475" y="703"/>
                    <a:pt x="1476" y="694"/>
                  </a:cubicBezTo>
                  <a:cubicBezTo>
                    <a:pt x="1473" y="692"/>
                    <a:pt x="1469" y="691"/>
                    <a:pt x="1468" y="688"/>
                  </a:cubicBezTo>
                  <a:cubicBezTo>
                    <a:pt x="1471" y="685"/>
                    <a:pt x="1465" y="682"/>
                    <a:pt x="1465" y="680"/>
                  </a:cubicBezTo>
                  <a:cubicBezTo>
                    <a:pt x="1434" y="684"/>
                    <a:pt x="1406" y="677"/>
                    <a:pt x="1382" y="690"/>
                  </a:cubicBezTo>
                  <a:cubicBezTo>
                    <a:pt x="1382" y="694"/>
                    <a:pt x="1382" y="698"/>
                    <a:pt x="1379" y="699"/>
                  </a:cubicBezTo>
                  <a:cubicBezTo>
                    <a:pt x="1375" y="699"/>
                    <a:pt x="1366" y="699"/>
                    <a:pt x="1362" y="701"/>
                  </a:cubicBezTo>
                  <a:cubicBezTo>
                    <a:pt x="1361" y="708"/>
                    <a:pt x="1367" y="708"/>
                    <a:pt x="1368" y="714"/>
                  </a:cubicBezTo>
                  <a:cubicBezTo>
                    <a:pt x="1365" y="718"/>
                    <a:pt x="1361" y="719"/>
                    <a:pt x="1356" y="721"/>
                  </a:cubicBezTo>
                  <a:cubicBezTo>
                    <a:pt x="1355" y="729"/>
                    <a:pt x="1350" y="733"/>
                    <a:pt x="1343" y="729"/>
                  </a:cubicBezTo>
                  <a:cubicBezTo>
                    <a:pt x="1343" y="732"/>
                    <a:pt x="1343" y="735"/>
                    <a:pt x="1342" y="736"/>
                  </a:cubicBezTo>
                  <a:cubicBezTo>
                    <a:pt x="1334" y="737"/>
                    <a:pt x="1330" y="742"/>
                    <a:pt x="1328" y="749"/>
                  </a:cubicBezTo>
                  <a:cubicBezTo>
                    <a:pt x="1342" y="740"/>
                    <a:pt x="1361" y="759"/>
                    <a:pt x="1367" y="739"/>
                  </a:cubicBezTo>
                  <a:cubicBezTo>
                    <a:pt x="1372" y="739"/>
                    <a:pt x="1372" y="739"/>
                    <a:pt x="1372" y="739"/>
                  </a:cubicBezTo>
                  <a:cubicBezTo>
                    <a:pt x="1371" y="726"/>
                    <a:pt x="1388" y="734"/>
                    <a:pt x="1394" y="728"/>
                  </a:cubicBezTo>
                  <a:cubicBezTo>
                    <a:pt x="1395" y="733"/>
                    <a:pt x="1401" y="732"/>
                    <a:pt x="1400" y="740"/>
                  </a:cubicBezTo>
                  <a:cubicBezTo>
                    <a:pt x="1402" y="742"/>
                    <a:pt x="1408" y="741"/>
                    <a:pt x="1409" y="744"/>
                  </a:cubicBezTo>
                  <a:cubicBezTo>
                    <a:pt x="1407" y="746"/>
                    <a:pt x="1402" y="744"/>
                    <a:pt x="1402" y="748"/>
                  </a:cubicBezTo>
                  <a:cubicBezTo>
                    <a:pt x="1404" y="752"/>
                    <a:pt x="1406" y="754"/>
                    <a:pt x="1409" y="756"/>
                  </a:cubicBezTo>
                  <a:cubicBezTo>
                    <a:pt x="1415" y="753"/>
                    <a:pt x="1419" y="760"/>
                    <a:pt x="1424" y="760"/>
                  </a:cubicBezTo>
                  <a:cubicBezTo>
                    <a:pt x="1430" y="760"/>
                    <a:pt x="1432" y="755"/>
                    <a:pt x="1437" y="751"/>
                  </a:cubicBezTo>
                  <a:cubicBezTo>
                    <a:pt x="1442" y="756"/>
                    <a:pt x="1449" y="760"/>
                    <a:pt x="1456" y="763"/>
                  </a:cubicBezTo>
                  <a:cubicBezTo>
                    <a:pt x="1458" y="752"/>
                    <a:pt x="1452" y="749"/>
                    <a:pt x="1447" y="745"/>
                  </a:cubicBezTo>
                  <a:cubicBezTo>
                    <a:pt x="1450" y="740"/>
                    <a:pt x="1452" y="736"/>
                    <a:pt x="1454" y="728"/>
                  </a:cubicBezTo>
                  <a:cubicBezTo>
                    <a:pt x="1463" y="726"/>
                    <a:pt x="1476" y="721"/>
                    <a:pt x="1484" y="726"/>
                  </a:cubicBezTo>
                  <a:cubicBezTo>
                    <a:pt x="1488" y="722"/>
                    <a:pt x="1496" y="722"/>
                    <a:pt x="1499" y="719"/>
                  </a:cubicBezTo>
                  <a:cubicBezTo>
                    <a:pt x="1501" y="724"/>
                    <a:pt x="1500" y="731"/>
                    <a:pt x="1506" y="731"/>
                  </a:cubicBezTo>
                  <a:cubicBezTo>
                    <a:pt x="1506" y="722"/>
                    <a:pt x="1506" y="722"/>
                    <a:pt x="1506" y="722"/>
                  </a:cubicBezTo>
                  <a:cubicBezTo>
                    <a:pt x="1507" y="719"/>
                    <a:pt x="1514" y="722"/>
                    <a:pt x="1514" y="719"/>
                  </a:cubicBezTo>
                  <a:cubicBezTo>
                    <a:pt x="1510" y="713"/>
                    <a:pt x="1503" y="710"/>
                    <a:pt x="1497" y="705"/>
                  </a:cubicBezTo>
                  <a:cubicBezTo>
                    <a:pt x="1504" y="701"/>
                    <a:pt x="1507" y="712"/>
                    <a:pt x="1513" y="710"/>
                  </a:cubicBezTo>
                  <a:cubicBezTo>
                    <a:pt x="1515" y="710"/>
                    <a:pt x="1514" y="705"/>
                    <a:pt x="1516" y="704"/>
                  </a:cubicBezTo>
                  <a:cubicBezTo>
                    <a:pt x="1519" y="705"/>
                    <a:pt x="1521" y="707"/>
                    <a:pt x="1525" y="706"/>
                  </a:cubicBezTo>
                  <a:close/>
                  <a:moveTo>
                    <a:pt x="1262" y="683"/>
                  </a:moveTo>
                  <a:cubicBezTo>
                    <a:pt x="1262" y="689"/>
                    <a:pt x="1262" y="689"/>
                    <a:pt x="1262" y="689"/>
                  </a:cubicBezTo>
                  <a:cubicBezTo>
                    <a:pt x="1265" y="689"/>
                    <a:pt x="1267" y="687"/>
                    <a:pt x="1267" y="684"/>
                  </a:cubicBezTo>
                  <a:cubicBezTo>
                    <a:pt x="1266" y="683"/>
                    <a:pt x="1264" y="683"/>
                    <a:pt x="1262" y="683"/>
                  </a:cubicBezTo>
                  <a:close/>
                  <a:moveTo>
                    <a:pt x="1232" y="697"/>
                  </a:moveTo>
                  <a:cubicBezTo>
                    <a:pt x="1239" y="696"/>
                    <a:pt x="1246" y="694"/>
                    <a:pt x="1248" y="687"/>
                  </a:cubicBezTo>
                  <a:cubicBezTo>
                    <a:pt x="1241" y="688"/>
                    <a:pt x="1234" y="691"/>
                    <a:pt x="1232" y="697"/>
                  </a:cubicBezTo>
                  <a:close/>
                  <a:moveTo>
                    <a:pt x="196" y="694"/>
                  </a:moveTo>
                  <a:cubicBezTo>
                    <a:pt x="199" y="694"/>
                    <a:pt x="199" y="689"/>
                    <a:pt x="196" y="689"/>
                  </a:cubicBezTo>
                  <a:cubicBezTo>
                    <a:pt x="196" y="690"/>
                    <a:pt x="195" y="691"/>
                    <a:pt x="196" y="694"/>
                  </a:cubicBezTo>
                  <a:close/>
                  <a:moveTo>
                    <a:pt x="1222" y="693"/>
                  </a:moveTo>
                  <a:cubicBezTo>
                    <a:pt x="1217" y="695"/>
                    <a:pt x="1211" y="703"/>
                    <a:pt x="1214" y="706"/>
                  </a:cubicBezTo>
                  <a:cubicBezTo>
                    <a:pt x="1219" y="704"/>
                    <a:pt x="1226" y="700"/>
                    <a:pt x="1222" y="693"/>
                  </a:cubicBezTo>
                  <a:close/>
                  <a:moveTo>
                    <a:pt x="1604" y="812"/>
                  </a:moveTo>
                  <a:cubicBezTo>
                    <a:pt x="1609" y="805"/>
                    <a:pt x="1603" y="789"/>
                    <a:pt x="1609" y="781"/>
                  </a:cubicBezTo>
                  <a:cubicBezTo>
                    <a:pt x="1611" y="781"/>
                    <a:pt x="1609" y="785"/>
                    <a:pt x="1612" y="784"/>
                  </a:cubicBezTo>
                  <a:cubicBezTo>
                    <a:pt x="1615" y="776"/>
                    <a:pt x="1615" y="767"/>
                    <a:pt x="1611" y="762"/>
                  </a:cubicBezTo>
                  <a:cubicBezTo>
                    <a:pt x="1616" y="746"/>
                    <a:pt x="1609" y="726"/>
                    <a:pt x="1604" y="712"/>
                  </a:cubicBezTo>
                  <a:cubicBezTo>
                    <a:pt x="1594" y="717"/>
                    <a:pt x="1588" y="707"/>
                    <a:pt x="1581" y="704"/>
                  </a:cubicBezTo>
                  <a:cubicBezTo>
                    <a:pt x="1580" y="699"/>
                    <a:pt x="1575" y="693"/>
                    <a:pt x="1571" y="694"/>
                  </a:cubicBezTo>
                  <a:cubicBezTo>
                    <a:pt x="1574" y="703"/>
                    <a:pt x="1577" y="714"/>
                    <a:pt x="1587" y="718"/>
                  </a:cubicBezTo>
                  <a:cubicBezTo>
                    <a:pt x="1589" y="719"/>
                    <a:pt x="1592" y="716"/>
                    <a:pt x="1595" y="718"/>
                  </a:cubicBezTo>
                  <a:cubicBezTo>
                    <a:pt x="1597" y="718"/>
                    <a:pt x="1597" y="722"/>
                    <a:pt x="1598" y="723"/>
                  </a:cubicBezTo>
                  <a:cubicBezTo>
                    <a:pt x="1601" y="726"/>
                    <a:pt x="1604" y="724"/>
                    <a:pt x="1607" y="726"/>
                  </a:cubicBezTo>
                  <a:cubicBezTo>
                    <a:pt x="1607" y="731"/>
                    <a:pt x="1608" y="735"/>
                    <a:pt x="1608" y="741"/>
                  </a:cubicBezTo>
                  <a:cubicBezTo>
                    <a:pt x="1602" y="739"/>
                    <a:pt x="1602" y="743"/>
                    <a:pt x="1600" y="744"/>
                  </a:cubicBezTo>
                  <a:cubicBezTo>
                    <a:pt x="1598" y="736"/>
                    <a:pt x="1591" y="728"/>
                    <a:pt x="1586" y="726"/>
                  </a:cubicBezTo>
                  <a:cubicBezTo>
                    <a:pt x="1585" y="734"/>
                    <a:pt x="1593" y="741"/>
                    <a:pt x="1594" y="749"/>
                  </a:cubicBezTo>
                  <a:cubicBezTo>
                    <a:pt x="1592" y="748"/>
                    <a:pt x="1592" y="751"/>
                    <a:pt x="1589" y="750"/>
                  </a:cubicBezTo>
                  <a:cubicBezTo>
                    <a:pt x="1592" y="760"/>
                    <a:pt x="1582" y="760"/>
                    <a:pt x="1587" y="769"/>
                  </a:cubicBezTo>
                  <a:cubicBezTo>
                    <a:pt x="1583" y="774"/>
                    <a:pt x="1576" y="775"/>
                    <a:pt x="1578" y="785"/>
                  </a:cubicBezTo>
                  <a:cubicBezTo>
                    <a:pt x="1583" y="786"/>
                    <a:pt x="1581" y="791"/>
                    <a:pt x="1581" y="796"/>
                  </a:cubicBezTo>
                  <a:cubicBezTo>
                    <a:pt x="1583" y="797"/>
                    <a:pt x="1585" y="798"/>
                    <a:pt x="1587" y="799"/>
                  </a:cubicBezTo>
                  <a:cubicBezTo>
                    <a:pt x="1592" y="786"/>
                    <a:pt x="1596" y="772"/>
                    <a:pt x="1603" y="760"/>
                  </a:cubicBezTo>
                  <a:cubicBezTo>
                    <a:pt x="1603" y="772"/>
                    <a:pt x="1592" y="808"/>
                    <a:pt x="1604" y="812"/>
                  </a:cubicBezTo>
                  <a:close/>
                  <a:moveTo>
                    <a:pt x="187" y="697"/>
                  </a:moveTo>
                  <a:cubicBezTo>
                    <a:pt x="188" y="698"/>
                    <a:pt x="189" y="699"/>
                    <a:pt x="191" y="698"/>
                  </a:cubicBezTo>
                  <a:cubicBezTo>
                    <a:pt x="191" y="696"/>
                    <a:pt x="190" y="695"/>
                    <a:pt x="189" y="695"/>
                  </a:cubicBezTo>
                  <a:cubicBezTo>
                    <a:pt x="189" y="696"/>
                    <a:pt x="187" y="696"/>
                    <a:pt x="187" y="697"/>
                  </a:cubicBezTo>
                  <a:close/>
                  <a:moveTo>
                    <a:pt x="1253" y="697"/>
                  </a:moveTo>
                  <a:cubicBezTo>
                    <a:pt x="1252" y="701"/>
                    <a:pt x="1256" y="700"/>
                    <a:pt x="1255" y="703"/>
                  </a:cubicBezTo>
                  <a:cubicBezTo>
                    <a:pt x="1252" y="703"/>
                    <a:pt x="1251" y="704"/>
                    <a:pt x="1251" y="707"/>
                  </a:cubicBezTo>
                  <a:cubicBezTo>
                    <a:pt x="1258" y="709"/>
                    <a:pt x="1257" y="698"/>
                    <a:pt x="1266" y="700"/>
                  </a:cubicBezTo>
                  <a:cubicBezTo>
                    <a:pt x="1264" y="693"/>
                    <a:pt x="1259" y="700"/>
                    <a:pt x="1253" y="697"/>
                  </a:cubicBezTo>
                  <a:close/>
                  <a:moveTo>
                    <a:pt x="1692" y="805"/>
                  </a:moveTo>
                  <a:cubicBezTo>
                    <a:pt x="1700" y="797"/>
                    <a:pt x="1701" y="784"/>
                    <a:pt x="1703" y="769"/>
                  </a:cubicBezTo>
                  <a:cubicBezTo>
                    <a:pt x="1705" y="747"/>
                    <a:pt x="1704" y="720"/>
                    <a:pt x="1701" y="701"/>
                  </a:cubicBezTo>
                  <a:cubicBezTo>
                    <a:pt x="1701" y="715"/>
                    <a:pt x="1702" y="730"/>
                    <a:pt x="1700" y="742"/>
                  </a:cubicBezTo>
                  <a:cubicBezTo>
                    <a:pt x="1700" y="740"/>
                    <a:pt x="1700" y="739"/>
                    <a:pt x="1699" y="739"/>
                  </a:cubicBezTo>
                  <a:cubicBezTo>
                    <a:pt x="1700" y="744"/>
                    <a:pt x="1695" y="747"/>
                    <a:pt x="1694" y="752"/>
                  </a:cubicBezTo>
                  <a:cubicBezTo>
                    <a:pt x="1692" y="762"/>
                    <a:pt x="1695" y="773"/>
                    <a:pt x="1693" y="784"/>
                  </a:cubicBezTo>
                  <a:cubicBezTo>
                    <a:pt x="1691" y="792"/>
                    <a:pt x="1685" y="799"/>
                    <a:pt x="1692" y="805"/>
                  </a:cubicBezTo>
                  <a:close/>
                  <a:moveTo>
                    <a:pt x="1234" y="706"/>
                  </a:moveTo>
                  <a:cubicBezTo>
                    <a:pt x="1230" y="704"/>
                    <a:pt x="1222" y="705"/>
                    <a:pt x="1221" y="710"/>
                  </a:cubicBezTo>
                  <a:cubicBezTo>
                    <a:pt x="1223" y="714"/>
                    <a:pt x="1229" y="712"/>
                    <a:pt x="1233" y="711"/>
                  </a:cubicBezTo>
                  <a:cubicBezTo>
                    <a:pt x="1233" y="709"/>
                    <a:pt x="1235" y="709"/>
                    <a:pt x="1234" y="706"/>
                  </a:cubicBezTo>
                  <a:close/>
                  <a:moveTo>
                    <a:pt x="1204" y="718"/>
                  </a:moveTo>
                  <a:cubicBezTo>
                    <a:pt x="1206" y="723"/>
                    <a:pt x="1213" y="718"/>
                    <a:pt x="1213" y="714"/>
                  </a:cubicBezTo>
                  <a:cubicBezTo>
                    <a:pt x="1209" y="714"/>
                    <a:pt x="1205" y="714"/>
                    <a:pt x="1204" y="718"/>
                  </a:cubicBezTo>
                  <a:close/>
                  <a:moveTo>
                    <a:pt x="1531" y="737"/>
                  </a:moveTo>
                  <a:cubicBezTo>
                    <a:pt x="1532" y="736"/>
                    <a:pt x="1531" y="733"/>
                    <a:pt x="1533" y="733"/>
                  </a:cubicBezTo>
                  <a:cubicBezTo>
                    <a:pt x="1535" y="736"/>
                    <a:pt x="1540" y="738"/>
                    <a:pt x="1541" y="742"/>
                  </a:cubicBezTo>
                  <a:cubicBezTo>
                    <a:pt x="1542" y="739"/>
                    <a:pt x="1543" y="742"/>
                    <a:pt x="1545" y="742"/>
                  </a:cubicBezTo>
                  <a:cubicBezTo>
                    <a:pt x="1549" y="732"/>
                    <a:pt x="1537" y="730"/>
                    <a:pt x="1535" y="723"/>
                  </a:cubicBezTo>
                  <a:cubicBezTo>
                    <a:pt x="1536" y="722"/>
                    <a:pt x="1537" y="721"/>
                    <a:pt x="1537" y="718"/>
                  </a:cubicBezTo>
                  <a:cubicBezTo>
                    <a:pt x="1533" y="717"/>
                    <a:pt x="1532" y="715"/>
                    <a:pt x="1529" y="715"/>
                  </a:cubicBezTo>
                  <a:cubicBezTo>
                    <a:pt x="1528" y="720"/>
                    <a:pt x="1533" y="721"/>
                    <a:pt x="1533" y="725"/>
                  </a:cubicBezTo>
                  <a:cubicBezTo>
                    <a:pt x="1530" y="725"/>
                    <a:pt x="1527" y="726"/>
                    <a:pt x="1525" y="726"/>
                  </a:cubicBezTo>
                  <a:cubicBezTo>
                    <a:pt x="1526" y="731"/>
                    <a:pt x="1521" y="730"/>
                    <a:pt x="1522" y="736"/>
                  </a:cubicBezTo>
                  <a:cubicBezTo>
                    <a:pt x="1526" y="735"/>
                    <a:pt x="1528" y="735"/>
                    <a:pt x="1531" y="737"/>
                  </a:cubicBezTo>
                  <a:close/>
                  <a:moveTo>
                    <a:pt x="1564" y="733"/>
                  </a:moveTo>
                  <a:cubicBezTo>
                    <a:pt x="1568" y="735"/>
                    <a:pt x="1571" y="742"/>
                    <a:pt x="1577" y="739"/>
                  </a:cubicBezTo>
                  <a:cubicBezTo>
                    <a:pt x="1576" y="734"/>
                    <a:pt x="1567" y="732"/>
                    <a:pt x="1564" y="733"/>
                  </a:cubicBezTo>
                  <a:close/>
                  <a:moveTo>
                    <a:pt x="1586" y="743"/>
                  </a:moveTo>
                  <a:cubicBezTo>
                    <a:pt x="1588" y="741"/>
                    <a:pt x="1585" y="738"/>
                    <a:pt x="1583" y="738"/>
                  </a:cubicBezTo>
                  <a:cubicBezTo>
                    <a:pt x="1583" y="741"/>
                    <a:pt x="1582" y="744"/>
                    <a:pt x="1586" y="743"/>
                  </a:cubicBezTo>
                  <a:close/>
                  <a:moveTo>
                    <a:pt x="1490" y="759"/>
                  </a:moveTo>
                  <a:cubicBezTo>
                    <a:pt x="1492" y="752"/>
                    <a:pt x="1491" y="747"/>
                    <a:pt x="1489" y="741"/>
                  </a:cubicBezTo>
                  <a:cubicBezTo>
                    <a:pt x="1486" y="741"/>
                    <a:pt x="1486" y="741"/>
                    <a:pt x="1486" y="741"/>
                  </a:cubicBezTo>
                  <a:cubicBezTo>
                    <a:pt x="1490" y="746"/>
                    <a:pt x="1484" y="755"/>
                    <a:pt x="1490" y="759"/>
                  </a:cubicBezTo>
                  <a:close/>
                  <a:moveTo>
                    <a:pt x="1559" y="743"/>
                  </a:moveTo>
                  <a:cubicBezTo>
                    <a:pt x="1551" y="740"/>
                    <a:pt x="1551" y="749"/>
                    <a:pt x="1554" y="752"/>
                  </a:cubicBezTo>
                  <a:cubicBezTo>
                    <a:pt x="1556" y="752"/>
                    <a:pt x="1557" y="752"/>
                    <a:pt x="1559" y="752"/>
                  </a:cubicBezTo>
                  <a:cubicBezTo>
                    <a:pt x="1561" y="749"/>
                    <a:pt x="1560" y="747"/>
                    <a:pt x="1559" y="743"/>
                  </a:cubicBezTo>
                  <a:close/>
                  <a:moveTo>
                    <a:pt x="1676" y="743"/>
                  </a:moveTo>
                  <a:cubicBezTo>
                    <a:pt x="1676" y="746"/>
                    <a:pt x="1675" y="749"/>
                    <a:pt x="1678" y="749"/>
                  </a:cubicBezTo>
                  <a:cubicBezTo>
                    <a:pt x="1677" y="747"/>
                    <a:pt x="1679" y="743"/>
                    <a:pt x="1676" y="743"/>
                  </a:cubicBezTo>
                  <a:close/>
                  <a:moveTo>
                    <a:pt x="1012" y="752"/>
                  </a:moveTo>
                  <a:cubicBezTo>
                    <a:pt x="1012" y="761"/>
                    <a:pt x="1021" y="761"/>
                    <a:pt x="1029" y="763"/>
                  </a:cubicBezTo>
                  <a:cubicBezTo>
                    <a:pt x="1027" y="755"/>
                    <a:pt x="1019" y="754"/>
                    <a:pt x="1012" y="752"/>
                  </a:cubicBezTo>
                  <a:close/>
                  <a:moveTo>
                    <a:pt x="1031" y="767"/>
                  </a:moveTo>
                  <a:cubicBezTo>
                    <a:pt x="1025" y="778"/>
                    <a:pt x="1040" y="782"/>
                    <a:pt x="1046" y="776"/>
                  </a:cubicBezTo>
                  <a:cubicBezTo>
                    <a:pt x="1045" y="769"/>
                    <a:pt x="1039" y="767"/>
                    <a:pt x="1031" y="767"/>
                  </a:cubicBezTo>
                  <a:close/>
                  <a:moveTo>
                    <a:pt x="1581" y="1055"/>
                  </a:moveTo>
                  <a:cubicBezTo>
                    <a:pt x="1581" y="1036"/>
                    <a:pt x="1576" y="1014"/>
                    <a:pt x="1569" y="999"/>
                  </a:cubicBezTo>
                  <a:cubicBezTo>
                    <a:pt x="1556" y="993"/>
                    <a:pt x="1559" y="974"/>
                    <a:pt x="1555" y="960"/>
                  </a:cubicBezTo>
                  <a:cubicBezTo>
                    <a:pt x="1564" y="957"/>
                    <a:pt x="1561" y="938"/>
                    <a:pt x="1557" y="932"/>
                  </a:cubicBezTo>
                  <a:cubicBezTo>
                    <a:pt x="1555" y="935"/>
                    <a:pt x="1552" y="938"/>
                    <a:pt x="1550" y="941"/>
                  </a:cubicBezTo>
                  <a:cubicBezTo>
                    <a:pt x="1548" y="936"/>
                    <a:pt x="1554" y="933"/>
                    <a:pt x="1555" y="928"/>
                  </a:cubicBezTo>
                  <a:cubicBezTo>
                    <a:pt x="1552" y="925"/>
                    <a:pt x="1547" y="924"/>
                    <a:pt x="1546" y="919"/>
                  </a:cubicBezTo>
                  <a:cubicBezTo>
                    <a:pt x="1551" y="919"/>
                    <a:pt x="1548" y="912"/>
                    <a:pt x="1550" y="910"/>
                  </a:cubicBezTo>
                  <a:cubicBezTo>
                    <a:pt x="1549" y="908"/>
                    <a:pt x="1546" y="909"/>
                    <a:pt x="1546" y="908"/>
                  </a:cubicBezTo>
                  <a:cubicBezTo>
                    <a:pt x="1548" y="903"/>
                    <a:pt x="1547" y="896"/>
                    <a:pt x="1542" y="895"/>
                  </a:cubicBezTo>
                  <a:cubicBezTo>
                    <a:pt x="1544" y="888"/>
                    <a:pt x="1540" y="879"/>
                    <a:pt x="1537" y="874"/>
                  </a:cubicBezTo>
                  <a:cubicBezTo>
                    <a:pt x="1532" y="875"/>
                    <a:pt x="1535" y="884"/>
                    <a:pt x="1527" y="882"/>
                  </a:cubicBezTo>
                  <a:cubicBezTo>
                    <a:pt x="1524" y="885"/>
                    <a:pt x="1525" y="892"/>
                    <a:pt x="1523" y="896"/>
                  </a:cubicBezTo>
                  <a:cubicBezTo>
                    <a:pt x="1524" y="891"/>
                    <a:pt x="1522" y="889"/>
                    <a:pt x="1522" y="885"/>
                  </a:cubicBezTo>
                  <a:cubicBezTo>
                    <a:pt x="1517" y="887"/>
                    <a:pt x="1514" y="882"/>
                    <a:pt x="1512" y="879"/>
                  </a:cubicBezTo>
                  <a:cubicBezTo>
                    <a:pt x="1514" y="878"/>
                    <a:pt x="1517" y="878"/>
                    <a:pt x="1518" y="877"/>
                  </a:cubicBezTo>
                  <a:cubicBezTo>
                    <a:pt x="1521" y="869"/>
                    <a:pt x="1518" y="865"/>
                    <a:pt x="1515" y="860"/>
                  </a:cubicBezTo>
                  <a:cubicBezTo>
                    <a:pt x="1523" y="842"/>
                    <a:pt x="1502" y="838"/>
                    <a:pt x="1497" y="827"/>
                  </a:cubicBezTo>
                  <a:cubicBezTo>
                    <a:pt x="1500" y="828"/>
                    <a:pt x="1502" y="830"/>
                    <a:pt x="1507" y="829"/>
                  </a:cubicBezTo>
                  <a:cubicBezTo>
                    <a:pt x="1507" y="826"/>
                    <a:pt x="1507" y="824"/>
                    <a:pt x="1506" y="821"/>
                  </a:cubicBezTo>
                  <a:cubicBezTo>
                    <a:pt x="1502" y="822"/>
                    <a:pt x="1501" y="820"/>
                    <a:pt x="1498" y="819"/>
                  </a:cubicBezTo>
                  <a:cubicBezTo>
                    <a:pt x="1496" y="819"/>
                    <a:pt x="1497" y="823"/>
                    <a:pt x="1494" y="822"/>
                  </a:cubicBezTo>
                  <a:cubicBezTo>
                    <a:pt x="1484" y="819"/>
                    <a:pt x="1477" y="823"/>
                    <a:pt x="1469" y="817"/>
                  </a:cubicBezTo>
                  <a:cubicBezTo>
                    <a:pt x="1465" y="814"/>
                    <a:pt x="1464" y="808"/>
                    <a:pt x="1458" y="814"/>
                  </a:cubicBezTo>
                  <a:cubicBezTo>
                    <a:pt x="1457" y="820"/>
                    <a:pt x="1461" y="821"/>
                    <a:pt x="1460" y="828"/>
                  </a:cubicBezTo>
                  <a:cubicBezTo>
                    <a:pt x="1461" y="830"/>
                    <a:pt x="1466" y="829"/>
                    <a:pt x="1466" y="833"/>
                  </a:cubicBezTo>
                  <a:cubicBezTo>
                    <a:pt x="1462" y="840"/>
                    <a:pt x="1468" y="844"/>
                    <a:pt x="1466" y="854"/>
                  </a:cubicBezTo>
                  <a:cubicBezTo>
                    <a:pt x="1456" y="857"/>
                    <a:pt x="1451" y="864"/>
                    <a:pt x="1436" y="862"/>
                  </a:cubicBezTo>
                  <a:cubicBezTo>
                    <a:pt x="1433" y="864"/>
                    <a:pt x="1431" y="868"/>
                    <a:pt x="1426" y="869"/>
                  </a:cubicBezTo>
                  <a:cubicBezTo>
                    <a:pt x="1418" y="865"/>
                    <a:pt x="1419" y="861"/>
                    <a:pt x="1418" y="851"/>
                  </a:cubicBezTo>
                  <a:cubicBezTo>
                    <a:pt x="1415" y="830"/>
                    <a:pt x="1420" y="808"/>
                    <a:pt x="1416" y="790"/>
                  </a:cubicBezTo>
                  <a:cubicBezTo>
                    <a:pt x="1416" y="787"/>
                    <a:pt x="1418" y="786"/>
                    <a:pt x="1419" y="783"/>
                  </a:cubicBezTo>
                  <a:cubicBezTo>
                    <a:pt x="1416" y="778"/>
                    <a:pt x="1412" y="769"/>
                    <a:pt x="1405" y="776"/>
                  </a:cubicBezTo>
                  <a:cubicBezTo>
                    <a:pt x="1404" y="786"/>
                    <a:pt x="1396" y="797"/>
                    <a:pt x="1394" y="809"/>
                  </a:cubicBezTo>
                  <a:cubicBezTo>
                    <a:pt x="1391" y="804"/>
                    <a:pt x="1388" y="808"/>
                    <a:pt x="1382" y="808"/>
                  </a:cubicBezTo>
                  <a:cubicBezTo>
                    <a:pt x="1377" y="812"/>
                    <a:pt x="1380" y="819"/>
                    <a:pt x="1378" y="826"/>
                  </a:cubicBezTo>
                  <a:cubicBezTo>
                    <a:pt x="1377" y="832"/>
                    <a:pt x="1370" y="835"/>
                    <a:pt x="1369" y="840"/>
                  </a:cubicBezTo>
                  <a:cubicBezTo>
                    <a:pt x="1366" y="851"/>
                    <a:pt x="1369" y="858"/>
                    <a:pt x="1360" y="862"/>
                  </a:cubicBezTo>
                  <a:cubicBezTo>
                    <a:pt x="1353" y="864"/>
                    <a:pt x="1349" y="860"/>
                    <a:pt x="1342" y="866"/>
                  </a:cubicBezTo>
                  <a:cubicBezTo>
                    <a:pt x="1342" y="871"/>
                    <a:pt x="1340" y="871"/>
                    <a:pt x="1342" y="874"/>
                  </a:cubicBezTo>
                  <a:cubicBezTo>
                    <a:pt x="1340" y="876"/>
                    <a:pt x="1337" y="876"/>
                    <a:pt x="1335" y="877"/>
                  </a:cubicBezTo>
                  <a:cubicBezTo>
                    <a:pt x="1334" y="880"/>
                    <a:pt x="1334" y="884"/>
                    <a:pt x="1334" y="887"/>
                  </a:cubicBezTo>
                  <a:cubicBezTo>
                    <a:pt x="1331" y="881"/>
                    <a:pt x="1326" y="888"/>
                    <a:pt x="1322" y="888"/>
                  </a:cubicBezTo>
                  <a:cubicBezTo>
                    <a:pt x="1321" y="893"/>
                    <a:pt x="1324" y="894"/>
                    <a:pt x="1325" y="896"/>
                  </a:cubicBezTo>
                  <a:cubicBezTo>
                    <a:pt x="1319" y="898"/>
                    <a:pt x="1319" y="906"/>
                    <a:pt x="1311" y="907"/>
                  </a:cubicBezTo>
                  <a:cubicBezTo>
                    <a:pt x="1310" y="909"/>
                    <a:pt x="1309" y="912"/>
                    <a:pt x="1308" y="915"/>
                  </a:cubicBezTo>
                  <a:cubicBezTo>
                    <a:pt x="1305" y="915"/>
                    <a:pt x="1304" y="917"/>
                    <a:pt x="1302" y="917"/>
                  </a:cubicBezTo>
                  <a:cubicBezTo>
                    <a:pt x="1297" y="923"/>
                    <a:pt x="1300" y="933"/>
                    <a:pt x="1299" y="942"/>
                  </a:cubicBezTo>
                  <a:cubicBezTo>
                    <a:pt x="1298" y="946"/>
                    <a:pt x="1294" y="949"/>
                    <a:pt x="1294" y="953"/>
                  </a:cubicBezTo>
                  <a:cubicBezTo>
                    <a:pt x="1293" y="960"/>
                    <a:pt x="1297" y="971"/>
                    <a:pt x="1298" y="983"/>
                  </a:cubicBezTo>
                  <a:cubicBezTo>
                    <a:pt x="1298" y="992"/>
                    <a:pt x="1297" y="1002"/>
                    <a:pt x="1300" y="1008"/>
                  </a:cubicBezTo>
                  <a:cubicBezTo>
                    <a:pt x="1301" y="1011"/>
                    <a:pt x="1304" y="1012"/>
                    <a:pt x="1305" y="1014"/>
                  </a:cubicBezTo>
                  <a:cubicBezTo>
                    <a:pt x="1302" y="1024"/>
                    <a:pt x="1309" y="1029"/>
                    <a:pt x="1309" y="1038"/>
                  </a:cubicBezTo>
                  <a:cubicBezTo>
                    <a:pt x="1309" y="1039"/>
                    <a:pt x="1307" y="1042"/>
                    <a:pt x="1307" y="1043"/>
                  </a:cubicBezTo>
                  <a:cubicBezTo>
                    <a:pt x="1306" y="1051"/>
                    <a:pt x="1310" y="1059"/>
                    <a:pt x="1310" y="1066"/>
                  </a:cubicBezTo>
                  <a:cubicBezTo>
                    <a:pt x="1310" y="1071"/>
                    <a:pt x="1306" y="1075"/>
                    <a:pt x="1307" y="1080"/>
                  </a:cubicBezTo>
                  <a:cubicBezTo>
                    <a:pt x="1308" y="1085"/>
                    <a:pt x="1315" y="1089"/>
                    <a:pt x="1320" y="1089"/>
                  </a:cubicBezTo>
                  <a:cubicBezTo>
                    <a:pt x="1319" y="1099"/>
                    <a:pt x="1324" y="1104"/>
                    <a:pt x="1325" y="1112"/>
                  </a:cubicBezTo>
                  <a:cubicBezTo>
                    <a:pt x="1333" y="1111"/>
                    <a:pt x="1334" y="1105"/>
                    <a:pt x="1340" y="1103"/>
                  </a:cubicBezTo>
                  <a:cubicBezTo>
                    <a:pt x="1339" y="1107"/>
                    <a:pt x="1340" y="1114"/>
                    <a:pt x="1344" y="1119"/>
                  </a:cubicBezTo>
                  <a:cubicBezTo>
                    <a:pt x="1350" y="1118"/>
                    <a:pt x="1354" y="1117"/>
                    <a:pt x="1357" y="1122"/>
                  </a:cubicBezTo>
                  <a:cubicBezTo>
                    <a:pt x="1362" y="1119"/>
                    <a:pt x="1370" y="1120"/>
                    <a:pt x="1374" y="1116"/>
                  </a:cubicBezTo>
                  <a:cubicBezTo>
                    <a:pt x="1376" y="1113"/>
                    <a:pt x="1374" y="1110"/>
                    <a:pt x="1374" y="1105"/>
                  </a:cubicBezTo>
                  <a:cubicBezTo>
                    <a:pt x="1377" y="1102"/>
                    <a:pt x="1382" y="1100"/>
                    <a:pt x="1383" y="1095"/>
                  </a:cubicBezTo>
                  <a:cubicBezTo>
                    <a:pt x="1385" y="1095"/>
                    <a:pt x="1387" y="1096"/>
                    <a:pt x="1390" y="1096"/>
                  </a:cubicBezTo>
                  <a:cubicBezTo>
                    <a:pt x="1392" y="1092"/>
                    <a:pt x="1388" y="1082"/>
                    <a:pt x="1396" y="1083"/>
                  </a:cubicBezTo>
                  <a:cubicBezTo>
                    <a:pt x="1393" y="1089"/>
                    <a:pt x="1393" y="1098"/>
                    <a:pt x="1400" y="1098"/>
                  </a:cubicBezTo>
                  <a:cubicBezTo>
                    <a:pt x="1398" y="1083"/>
                    <a:pt x="1403" y="1071"/>
                    <a:pt x="1400" y="1061"/>
                  </a:cubicBezTo>
                  <a:cubicBezTo>
                    <a:pt x="1409" y="1068"/>
                    <a:pt x="1402" y="1082"/>
                    <a:pt x="1408" y="1092"/>
                  </a:cubicBezTo>
                  <a:cubicBezTo>
                    <a:pt x="1407" y="1095"/>
                    <a:pt x="1403" y="1097"/>
                    <a:pt x="1405" y="1101"/>
                  </a:cubicBezTo>
                  <a:cubicBezTo>
                    <a:pt x="1410" y="1101"/>
                    <a:pt x="1411" y="1101"/>
                    <a:pt x="1414" y="1099"/>
                  </a:cubicBezTo>
                  <a:cubicBezTo>
                    <a:pt x="1409" y="1091"/>
                    <a:pt x="1420" y="1086"/>
                    <a:pt x="1425" y="1085"/>
                  </a:cubicBezTo>
                  <a:cubicBezTo>
                    <a:pt x="1426" y="1082"/>
                    <a:pt x="1425" y="1079"/>
                    <a:pt x="1427" y="1076"/>
                  </a:cubicBezTo>
                  <a:cubicBezTo>
                    <a:pt x="1435" y="1075"/>
                    <a:pt x="1440" y="1076"/>
                    <a:pt x="1447" y="1075"/>
                  </a:cubicBezTo>
                  <a:cubicBezTo>
                    <a:pt x="1456" y="1082"/>
                    <a:pt x="1462" y="1092"/>
                    <a:pt x="1465" y="1105"/>
                  </a:cubicBezTo>
                  <a:cubicBezTo>
                    <a:pt x="1473" y="1104"/>
                    <a:pt x="1471" y="1113"/>
                    <a:pt x="1473" y="1118"/>
                  </a:cubicBezTo>
                  <a:cubicBezTo>
                    <a:pt x="1475" y="1122"/>
                    <a:pt x="1479" y="1122"/>
                    <a:pt x="1479" y="1126"/>
                  </a:cubicBezTo>
                  <a:cubicBezTo>
                    <a:pt x="1480" y="1132"/>
                    <a:pt x="1473" y="1139"/>
                    <a:pt x="1475" y="1146"/>
                  </a:cubicBezTo>
                  <a:cubicBezTo>
                    <a:pt x="1481" y="1150"/>
                    <a:pt x="1484" y="1156"/>
                    <a:pt x="1486" y="1164"/>
                  </a:cubicBezTo>
                  <a:cubicBezTo>
                    <a:pt x="1486" y="1166"/>
                    <a:pt x="1491" y="1164"/>
                    <a:pt x="1491" y="1167"/>
                  </a:cubicBezTo>
                  <a:cubicBezTo>
                    <a:pt x="1490" y="1178"/>
                    <a:pt x="1489" y="1185"/>
                    <a:pt x="1492" y="1195"/>
                  </a:cubicBezTo>
                  <a:cubicBezTo>
                    <a:pt x="1495" y="1195"/>
                    <a:pt x="1499" y="1197"/>
                    <a:pt x="1506" y="1198"/>
                  </a:cubicBezTo>
                  <a:cubicBezTo>
                    <a:pt x="1510" y="1193"/>
                    <a:pt x="1509" y="1192"/>
                    <a:pt x="1508" y="1185"/>
                  </a:cubicBezTo>
                  <a:cubicBezTo>
                    <a:pt x="1514" y="1178"/>
                    <a:pt x="1514" y="1168"/>
                    <a:pt x="1520" y="1161"/>
                  </a:cubicBezTo>
                  <a:cubicBezTo>
                    <a:pt x="1523" y="1159"/>
                    <a:pt x="1527" y="1158"/>
                    <a:pt x="1530" y="1155"/>
                  </a:cubicBezTo>
                  <a:cubicBezTo>
                    <a:pt x="1531" y="1154"/>
                    <a:pt x="1530" y="1152"/>
                    <a:pt x="1531" y="1150"/>
                  </a:cubicBezTo>
                  <a:cubicBezTo>
                    <a:pt x="1532" y="1148"/>
                    <a:pt x="1536" y="1145"/>
                    <a:pt x="1539" y="1142"/>
                  </a:cubicBezTo>
                  <a:cubicBezTo>
                    <a:pt x="1544" y="1134"/>
                    <a:pt x="1542" y="1131"/>
                    <a:pt x="1550" y="1129"/>
                  </a:cubicBezTo>
                  <a:cubicBezTo>
                    <a:pt x="1552" y="1117"/>
                    <a:pt x="1566" y="1116"/>
                    <a:pt x="1565" y="1102"/>
                  </a:cubicBezTo>
                  <a:cubicBezTo>
                    <a:pt x="1563" y="1101"/>
                    <a:pt x="1561" y="1105"/>
                    <a:pt x="1561" y="1103"/>
                  </a:cubicBezTo>
                  <a:cubicBezTo>
                    <a:pt x="1566" y="1095"/>
                    <a:pt x="1575" y="1091"/>
                    <a:pt x="1574" y="1078"/>
                  </a:cubicBezTo>
                  <a:cubicBezTo>
                    <a:pt x="1581" y="1073"/>
                    <a:pt x="1583" y="1059"/>
                    <a:pt x="1583" y="1051"/>
                  </a:cubicBezTo>
                  <a:cubicBezTo>
                    <a:pt x="1581" y="1051"/>
                    <a:pt x="1583" y="1054"/>
                    <a:pt x="1581" y="1055"/>
                  </a:cubicBezTo>
                  <a:close/>
                  <a:moveTo>
                    <a:pt x="1508" y="774"/>
                  </a:moveTo>
                  <a:cubicBezTo>
                    <a:pt x="1505" y="780"/>
                    <a:pt x="1512" y="784"/>
                    <a:pt x="1516" y="787"/>
                  </a:cubicBezTo>
                  <a:cubicBezTo>
                    <a:pt x="1516" y="780"/>
                    <a:pt x="1513" y="776"/>
                    <a:pt x="1508" y="774"/>
                  </a:cubicBezTo>
                  <a:close/>
                  <a:moveTo>
                    <a:pt x="1706" y="787"/>
                  </a:moveTo>
                  <a:cubicBezTo>
                    <a:pt x="1705" y="795"/>
                    <a:pt x="1703" y="802"/>
                    <a:pt x="1700" y="808"/>
                  </a:cubicBezTo>
                  <a:cubicBezTo>
                    <a:pt x="1697" y="806"/>
                    <a:pt x="1698" y="806"/>
                    <a:pt x="1696" y="803"/>
                  </a:cubicBezTo>
                  <a:cubicBezTo>
                    <a:pt x="1697" y="809"/>
                    <a:pt x="1694" y="820"/>
                    <a:pt x="1690" y="816"/>
                  </a:cubicBezTo>
                  <a:cubicBezTo>
                    <a:pt x="1691" y="824"/>
                    <a:pt x="1689" y="828"/>
                    <a:pt x="1689" y="835"/>
                  </a:cubicBezTo>
                  <a:cubicBezTo>
                    <a:pt x="1687" y="834"/>
                    <a:pt x="1687" y="832"/>
                    <a:pt x="1685" y="832"/>
                  </a:cubicBezTo>
                  <a:cubicBezTo>
                    <a:pt x="1684" y="835"/>
                    <a:pt x="1685" y="839"/>
                    <a:pt x="1683" y="840"/>
                  </a:cubicBezTo>
                  <a:cubicBezTo>
                    <a:pt x="1681" y="837"/>
                    <a:pt x="1683" y="829"/>
                    <a:pt x="1680" y="827"/>
                  </a:cubicBezTo>
                  <a:cubicBezTo>
                    <a:pt x="1677" y="832"/>
                    <a:pt x="1673" y="839"/>
                    <a:pt x="1675" y="845"/>
                  </a:cubicBezTo>
                  <a:cubicBezTo>
                    <a:pt x="1677" y="846"/>
                    <a:pt x="1678" y="842"/>
                    <a:pt x="1679" y="845"/>
                  </a:cubicBezTo>
                  <a:cubicBezTo>
                    <a:pt x="1674" y="855"/>
                    <a:pt x="1676" y="872"/>
                    <a:pt x="1671" y="885"/>
                  </a:cubicBezTo>
                  <a:cubicBezTo>
                    <a:pt x="1670" y="880"/>
                    <a:pt x="1664" y="879"/>
                    <a:pt x="1661" y="875"/>
                  </a:cubicBezTo>
                  <a:cubicBezTo>
                    <a:pt x="1660" y="877"/>
                    <a:pt x="1659" y="879"/>
                    <a:pt x="1657" y="880"/>
                  </a:cubicBezTo>
                  <a:cubicBezTo>
                    <a:pt x="1655" y="876"/>
                    <a:pt x="1652" y="874"/>
                    <a:pt x="1649" y="872"/>
                  </a:cubicBezTo>
                  <a:cubicBezTo>
                    <a:pt x="1649" y="869"/>
                    <a:pt x="1650" y="865"/>
                    <a:pt x="1648" y="863"/>
                  </a:cubicBezTo>
                  <a:cubicBezTo>
                    <a:pt x="1643" y="867"/>
                    <a:pt x="1642" y="863"/>
                    <a:pt x="1637" y="862"/>
                  </a:cubicBezTo>
                  <a:cubicBezTo>
                    <a:pt x="1635" y="865"/>
                    <a:pt x="1638" y="874"/>
                    <a:pt x="1633" y="874"/>
                  </a:cubicBezTo>
                  <a:cubicBezTo>
                    <a:pt x="1633" y="870"/>
                    <a:pt x="1633" y="871"/>
                    <a:pt x="1633" y="866"/>
                  </a:cubicBezTo>
                  <a:cubicBezTo>
                    <a:pt x="1629" y="865"/>
                    <a:pt x="1628" y="864"/>
                    <a:pt x="1625" y="867"/>
                  </a:cubicBezTo>
                  <a:cubicBezTo>
                    <a:pt x="1625" y="864"/>
                    <a:pt x="1623" y="863"/>
                    <a:pt x="1621" y="862"/>
                  </a:cubicBezTo>
                  <a:cubicBezTo>
                    <a:pt x="1620" y="864"/>
                    <a:pt x="1619" y="871"/>
                    <a:pt x="1621" y="873"/>
                  </a:cubicBezTo>
                  <a:cubicBezTo>
                    <a:pt x="1624" y="874"/>
                    <a:pt x="1623" y="871"/>
                    <a:pt x="1625" y="870"/>
                  </a:cubicBezTo>
                  <a:cubicBezTo>
                    <a:pt x="1627" y="874"/>
                    <a:pt x="1623" y="876"/>
                    <a:pt x="1623" y="880"/>
                  </a:cubicBezTo>
                  <a:cubicBezTo>
                    <a:pt x="1623" y="882"/>
                    <a:pt x="1626" y="882"/>
                    <a:pt x="1626" y="885"/>
                  </a:cubicBezTo>
                  <a:cubicBezTo>
                    <a:pt x="1629" y="884"/>
                    <a:pt x="1630" y="882"/>
                    <a:pt x="1634" y="882"/>
                  </a:cubicBezTo>
                  <a:cubicBezTo>
                    <a:pt x="1637" y="885"/>
                    <a:pt x="1639" y="889"/>
                    <a:pt x="1644" y="890"/>
                  </a:cubicBezTo>
                  <a:cubicBezTo>
                    <a:pt x="1648" y="891"/>
                    <a:pt x="1647" y="887"/>
                    <a:pt x="1650" y="887"/>
                  </a:cubicBezTo>
                  <a:cubicBezTo>
                    <a:pt x="1653" y="893"/>
                    <a:pt x="1658" y="898"/>
                    <a:pt x="1664" y="897"/>
                  </a:cubicBezTo>
                  <a:cubicBezTo>
                    <a:pt x="1665" y="899"/>
                    <a:pt x="1665" y="903"/>
                    <a:pt x="1667" y="904"/>
                  </a:cubicBezTo>
                  <a:cubicBezTo>
                    <a:pt x="1667" y="901"/>
                    <a:pt x="1668" y="899"/>
                    <a:pt x="1669" y="898"/>
                  </a:cubicBezTo>
                  <a:cubicBezTo>
                    <a:pt x="1669" y="900"/>
                    <a:pt x="1670" y="901"/>
                    <a:pt x="1671" y="902"/>
                  </a:cubicBezTo>
                  <a:cubicBezTo>
                    <a:pt x="1672" y="899"/>
                    <a:pt x="1669" y="888"/>
                    <a:pt x="1673" y="886"/>
                  </a:cubicBezTo>
                  <a:cubicBezTo>
                    <a:pt x="1673" y="890"/>
                    <a:pt x="1676" y="891"/>
                    <a:pt x="1677" y="894"/>
                  </a:cubicBezTo>
                  <a:cubicBezTo>
                    <a:pt x="1678" y="889"/>
                    <a:pt x="1683" y="887"/>
                    <a:pt x="1686" y="884"/>
                  </a:cubicBezTo>
                  <a:cubicBezTo>
                    <a:pt x="1692" y="874"/>
                    <a:pt x="1693" y="862"/>
                    <a:pt x="1697" y="850"/>
                  </a:cubicBezTo>
                  <a:cubicBezTo>
                    <a:pt x="1703" y="831"/>
                    <a:pt x="1713" y="807"/>
                    <a:pt x="1706" y="787"/>
                  </a:cubicBezTo>
                  <a:close/>
                  <a:moveTo>
                    <a:pt x="1682" y="843"/>
                  </a:moveTo>
                  <a:cubicBezTo>
                    <a:pt x="1680" y="843"/>
                    <a:pt x="1678" y="840"/>
                    <a:pt x="1680" y="839"/>
                  </a:cubicBezTo>
                  <a:cubicBezTo>
                    <a:pt x="1682" y="839"/>
                    <a:pt x="1682" y="841"/>
                    <a:pt x="1682" y="843"/>
                  </a:cubicBezTo>
                  <a:close/>
                  <a:moveTo>
                    <a:pt x="1550" y="804"/>
                  </a:moveTo>
                  <a:cubicBezTo>
                    <a:pt x="1553" y="805"/>
                    <a:pt x="1554" y="808"/>
                    <a:pt x="1557" y="810"/>
                  </a:cubicBezTo>
                  <a:cubicBezTo>
                    <a:pt x="1557" y="807"/>
                    <a:pt x="1557" y="804"/>
                    <a:pt x="1556" y="803"/>
                  </a:cubicBezTo>
                  <a:cubicBezTo>
                    <a:pt x="1554" y="804"/>
                    <a:pt x="1550" y="802"/>
                    <a:pt x="1550" y="804"/>
                  </a:cubicBezTo>
                  <a:close/>
                  <a:moveTo>
                    <a:pt x="1565" y="849"/>
                  </a:moveTo>
                  <a:cubicBezTo>
                    <a:pt x="1570" y="830"/>
                    <a:pt x="1554" y="815"/>
                    <a:pt x="1543" y="805"/>
                  </a:cubicBezTo>
                  <a:cubicBezTo>
                    <a:pt x="1542" y="811"/>
                    <a:pt x="1547" y="818"/>
                    <a:pt x="1548" y="824"/>
                  </a:cubicBezTo>
                  <a:cubicBezTo>
                    <a:pt x="1560" y="827"/>
                    <a:pt x="1556" y="844"/>
                    <a:pt x="1565" y="849"/>
                  </a:cubicBezTo>
                  <a:close/>
                  <a:moveTo>
                    <a:pt x="1596" y="815"/>
                  </a:moveTo>
                  <a:cubicBezTo>
                    <a:pt x="1596" y="812"/>
                    <a:pt x="1597" y="807"/>
                    <a:pt x="1594" y="807"/>
                  </a:cubicBezTo>
                  <a:cubicBezTo>
                    <a:pt x="1595" y="809"/>
                    <a:pt x="1592" y="815"/>
                    <a:pt x="1596" y="815"/>
                  </a:cubicBezTo>
                  <a:close/>
                  <a:moveTo>
                    <a:pt x="1686" y="817"/>
                  </a:moveTo>
                  <a:cubicBezTo>
                    <a:pt x="1687" y="815"/>
                    <a:pt x="1689" y="811"/>
                    <a:pt x="1685" y="811"/>
                  </a:cubicBezTo>
                  <a:cubicBezTo>
                    <a:pt x="1686" y="813"/>
                    <a:pt x="1684" y="817"/>
                    <a:pt x="1686" y="817"/>
                  </a:cubicBezTo>
                  <a:close/>
                  <a:moveTo>
                    <a:pt x="1584" y="835"/>
                  </a:moveTo>
                  <a:cubicBezTo>
                    <a:pt x="1582" y="832"/>
                    <a:pt x="1582" y="829"/>
                    <a:pt x="1577" y="830"/>
                  </a:cubicBezTo>
                  <a:cubicBezTo>
                    <a:pt x="1577" y="826"/>
                    <a:pt x="1575" y="823"/>
                    <a:pt x="1572" y="821"/>
                  </a:cubicBezTo>
                  <a:cubicBezTo>
                    <a:pt x="1571" y="837"/>
                    <a:pt x="1586" y="836"/>
                    <a:pt x="1589" y="848"/>
                  </a:cubicBezTo>
                  <a:cubicBezTo>
                    <a:pt x="1593" y="849"/>
                    <a:pt x="1592" y="849"/>
                    <a:pt x="1596" y="849"/>
                  </a:cubicBezTo>
                  <a:cubicBezTo>
                    <a:pt x="1593" y="844"/>
                    <a:pt x="1591" y="838"/>
                    <a:pt x="1588" y="833"/>
                  </a:cubicBezTo>
                  <a:cubicBezTo>
                    <a:pt x="1585" y="832"/>
                    <a:pt x="1586" y="834"/>
                    <a:pt x="1584" y="835"/>
                  </a:cubicBezTo>
                  <a:close/>
                  <a:moveTo>
                    <a:pt x="1190" y="823"/>
                  </a:moveTo>
                  <a:cubicBezTo>
                    <a:pt x="1178" y="826"/>
                    <a:pt x="1171" y="835"/>
                    <a:pt x="1162" y="841"/>
                  </a:cubicBezTo>
                  <a:cubicBezTo>
                    <a:pt x="1176" y="843"/>
                    <a:pt x="1186" y="834"/>
                    <a:pt x="1190" y="823"/>
                  </a:cubicBezTo>
                  <a:close/>
                  <a:moveTo>
                    <a:pt x="1513" y="836"/>
                  </a:moveTo>
                  <a:cubicBezTo>
                    <a:pt x="1515" y="833"/>
                    <a:pt x="1512" y="828"/>
                    <a:pt x="1510" y="827"/>
                  </a:cubicBezTo>
                  <a:cubicBezTo>
                    <a:pt x="1508" y="829"/>
                    <a:pt x="1509" y="835"/>
                    <a:pt x="1513" y="836"/>
                  </a:cubicBezTo>
                  <a:close/>
                  <a:moveTo>
                    <a:pt x="1669" y="831"/>
                  </a:moveTo>
                  <a:cubicBezTo>
                    <a:pt x="1667" y="834"/>
                    <a:pt x="1665" y="841"/>
                    <a:pt x="1671" y="841"/>
                  </a:cubicBezTo>
                  <a:cubicBezTo>
                    <a:pt x="1672" y="839"/>
                    <a:pt x="1674" y="830"/>
                    <a:pt x="1669" y="831"/>
                  </a:cubicBezTo>
                  <a:close/>
                  <a:moveTo>
                    <a:pt x="1704" y="836"/>
                  </a:moveTo>
                  <a:cubicBezTo>
                    <a:pt x="1705" y="840"/>
                    <a:pt x="1701" y="844"/>
                    <a:pt x="1704" y="847"/>
                  </a:cubicBezTo>
                  <a:cubicBezTo>
                    <a:pt x="1703" y="843"/>
                    <a:pt x="1708" y="837"/>
                    <a:pt x="1704" y="836"/>
                  </a:cubicBezTo>
                  <a:close/>
                  <a:moveTo>
                    <a:pt x="1607" y="846"/>
                  </a:moveTo>
                  <a:cubicBezTo>
                    <a:pt x="1604" y="845"/>
                    <a:pt x="1603" y="843"/>
                    <a:pt x="1600" y="842"/>
                  </a:cubicBezTo>
                  <a:cubicBezTo>
                    <a:pt x="1599" y="845"/>
                    <a:pt x="1598" y="851"/>
                    <a:pt x="1600" y="853"/>
                  </a:cubicBezTo>
                  <a:cubicBezTo>
                    <a:pt x="1604" y="853"/>
                    <a:pt x="1606" y="850"/>
                    <a:pt x="1607" y="846"/>
                  </a:cubicBezTo>
                  <a:close/>
                  <a:moveTo>
                    <a:pt x="1631" y="848"/>
                  </a:moveTo>
                  <a:cubicBezTo>
                    <a:pt x="1632" y="853"/>
                    <a:pt x="1632" y="858"/>
                    <a:pt x="1636" y="861"/>
                  </a:cubicBezTo>
                  <a:cubicBezTo>
                    <a:pt x="1638" y="856"/>
                    <a:pt x="1635" y="849"/>
                    <a:pt x="1631" y="848"/>
                  </a:cubicBezTo>
                  <a:close/>
                  <a:moveTo>
                    <a:pt x="1590" y="854"/>
                  </a:moveTo>
                  <a:cubicBezTo>
                    <a:pt x="1588" y="856"/>
                    <a:pt x="1585" y="858"/>
                    <a:pt x="1585" y="862"/>
                  </a:cubicBezTo>
                  <a:cubicBezTo>
                    <a:pt x="1586" y="863"/>
                    <a:pt x="1587" y="865"/>
                    <a:pt x="1589" y="865"/>
                  </a:cubicBezTo>
                  <a:cubicBezTo>
                    <a:pt x="1591" y="860"/>
                    <a:pt x="1592" y="864"/>
                    <a:pt x="1595" y="865"/>
                  </a:cubicBezTo>
                  <a:cubicBezTo>
                    <a:pt x="1597" y="865"/>
                    <a:pt x="1598" y="863"/>
                    <a:pt x="1598" y="861"/>
                  </a:cubicBezTo>
                  <a:cubicBezTo>
                    <a:pt x="1596" y="858"/>
                    <a:pt x="1593" y="856"/>
                    <a:pt x="1590" y="854"/>
                  </a:cubicBezTo>
                  <a:close/>
                  <a:moveTo>
                    <a:pt x="1604" y="854"/>
                  </a:moveTo>
                  <a:cubicBezTo>
                    <a:pt x="1600" y="860"/>
                    <a:pt x="1606" y="864"/>
                    <a:pt x="1609" y="867"/>
                  </a:cubicBezTo>
                  <a:cubicBezTo>
                    <a:pt x="1610" y="863"/>
                    <a:pt x="1612" y="867"/>
                    <a:pt x="1614" y="867"/>
                  </a:cubicBezTo>
                  <a:cubicBezTo>
                    <a:pt x="1614" y="863"/>
                    <a:pt x="1613" y="859"/>
                    <a:pt x="1612" y="856"/>
                  </a:cubicBezTo>
                  <a:cubicBezTo>
                    <a:pt x="1608" y="857"/>
                    <a:pt x="1608" y="855"/>
                    <a:pt x="1604" y="854"/>
                  </a:cubicBezTo>
                  <a:close/>
                  <a:moveTo>
                    <a:pt x="1616" y="858"/>
                  </a:moveTo>
                  <a:cubicBezTo>
                    <a:pt x="1615" y="860"/>
                    <a:pt x="1616" y="863"/>
                    <a:pt x="1619" y="863"/>
                  </a:cubicBezTo>
                  <a:cubicBezTo>
                    <a:pt x="1621" y="862"/>
                    <a:pt x="1620" y="857"/>
                    <a:pt x="1616" y="858"/>
                  </a:cubicBezTo>
                  <a:close/>
                  <a:moveTo>
                    <a:pt x="1693" y="877"/>
                  </a:moveTo>
                  <a:cubicBezTo>
                    <a:pt x="1694" y="880"/>
                    <a:pt x="1692" y="879"/>
                    <a:pt x="1692" y="882"/>
                  </a:cubicBezTo>
                  <a:cubicBezTo>
                    <a:pt x="1695" y="883"/>
                    <a:pt x="1697" y="876"/>
                    <a:pt x="1693" y="877"/>
                  </a:cubicBezTo>
                  <a:close/>
                  <a:moveTo>
                    <a:pt x="1121" y="1017"/>
                  </a:moveTo>
                  <a:cubicBezTo>
                    <a:pt x="1117" y="1003"/>
                    <a:pt x="1127" y="992"/>
                    <a:pt x="1132" y="979"/>
                  </a:cubicBezTo>
                  <a:cubicBezTo>
                    <a:pt x="1130" y="978"/>
                    <a:pt x="1130" y="977"/>
                    <a:pt x="1129" y="977"/>
                  </a:cubicBezTo>
                  <a:cubicBezTo>
                    <a:pt x="1125" y="984"/>
                    <a:pt x="1108" y="984"/>
                    <a:pt x="1116" y="998"/>
                  </a:cubicBezTo>
                  <a:cubicBezTo>
                    <a:pt x="1114" y="999"/>
                    <a:pt x="1113" y="1002"/>
                    <a:pt x="1111" y="1003"/>
                  </a:cubicBezTo>
                  <a:cubicBezTo>
                    <a:pt x="1111" y="999"/>
                    <a:pt x="1113" y="994"/>
                    <a:pt x="1108" y="995"/>
                  </a:cubicBezTo>
                  <a:cubicBezTo>
                    <a:pt x="1104" y="998"/>
                    <a:pt x="1111" y="1010"/>
                    <a:pt x="1105" y="1012"/>
                  </a:cubicBezTo>
                  <a:cubicBezTo>
                    <a:pt x="1099" y="1012"/>
                    <a:pt x="1095" y="1006"/>
                    <a:pt x="1089" y="1007"/>
                  </a:cubicBezTo>
                  <a:cubicBezTo>
                    <a:pt x="1089" y="1009"/>
                    <a:pt x="1089" y="1010"/>
                    <a:pt x="1088" y="1010"/>
                  </a:cubicBezTo>
                  <a:cubicBezTo>
                    <a:pt x="1089" y="1015"/>
                    <a:pt x="1096" y="1014"/>
                    <a:pt x="1094" y="1021"/>
                  </a:cubicBezTo>
                  <a:cubicBezTo>
                    <a:pt x="1101" y="1020"/>
                    <a:pt x="1097" y="1026"/>
                    <a:pt x="1099" y="1029"/>
                  </a:cubicBezTo>
                  <a:cubicBezTo>
                    <a:pt x="1103" y="1028"/>
                    <a:pt x="1107" y="1028"/>
                    <a:pt x="1108" y="1031"/>
                  </a:cubicBezTo>
                  <a:cubicBezTo>
                    <a:pt x="1109" y="1034"/>
                    <a:pt x="1107" y="1034"/>
                    <a:pt x="1108" y="1036"/>
                  </a:cubicBezTo>
                  <a:cubicBezTo>
                    <a:pt x="1109" y="1041"/>
                    <a:pt x="1115" y="1043"/>
                    <a:pt x="1119" y="1049"/>
                  </a:cubicBezTo>
                  <a:cubicBezTo>
                    <a:pt x="1122" y="1054"/>
                    <a:pt x="1123" y="1064"/>
                    <a:pt x="1132" y="1061"/>
                  </a:cubicBezTo>
                  <a:cubicBezTo>
                    <a:pt x="1134" y="1053"/>
                    <a:pt x="1126" y="1055"/>
                    <a:pt x="1126" y="1050"/>
                  </a:cubicBezTo>
                  <a:cubicBezTo>
                    <a:pt x="1126" y="1047"/>
                    <a:pt x="1126" y="1044"/>
                    <a:pt x="1129" y="1043"/>
                  </a:cubicBezTo>
                  <a:cubicBezTo>
                    <a:pt x="1135" y="1043"/>
                    <a:pt x="1135" y="1043"/>
                    <a:pt x="1135" y="1043"/>
                  </a:cubicBezTo>
                  <a:cubicBezTo>
                    <a:pt x="1137" y="1041"/>
                    <a:pt x="1138" y="1038"/>
                    <a:pt x="1138" y="1035"/>
                  </a:cubicBezTo>
                  <a:cubicBezTo>
                    <a:pt x="1132" y="1030"/>
                    <a:pt x="1127" y="1023"/>
                    <a:pt x="1121" y="1017"/>
                  </a:cubicBezTo>
                  <a:close/>
                  <a:moveTo>
                    <a:pt x="1194" y="1114"/>
                  </a:moveTo>
                  <a:cubicBezTo>
                    <a:pt x="1189" y="1106"/>
                    <a:pt x="1180" y="1101"/>
                    <a:pt x="1175" y="1094"/>
                  </a:cubicBezTo>
                  <a:cubicBezTo>
                    <a:pt x="1174" y="1092"/>
                    <a:pt x="1174" y="1090"/>
                    <a:pt x="1172" y="1087"/>
                  </a:cubicBezTo>
                  <a:cubicBezTo>
                    <a:pt x="1169" y="1083"/>
                    <a:pt x="1164" y="1082"/>
                    <a:pt x="1163" y="1079"/>
                  </a:cubicBezTo>
                  <a:cubicBezTo>
                    <a:pt x="1160" y="1069"/>
                    <a:pt x="1155" y="1062"/>
                    <a:pt x="1149" y="1055"/>
                  </a:cubicBezTo>
                  <a:cubicBezTo>
                    <a:pt x="1147" y="1057"/>
                    <a:pt x="1145" y="1058"/>
                    <a:pt x="1143" y="1060"/>
                  </a:cubicBezTo>
                  <a:cubicBezTo>
                    <a:pt x="1142" y="1059"/>
                    <a:pt x="1143" y="1057"/>
                    <a:pt x="1140" y="1057"/>
                  </a:cubicBezTo>
                  <a:cubicBezTo>
                    <a:pt x="1133" y="1073"/>
                    <a:pt x="1158" y="1081"/>
                    <a:pt x="1152" y="1096"/>
                  </a:cubicBezTo>
                  <a:cubicBezTo>
                    <a:pt x="1155" y="1097"/>
                    <a:pt x="1156" y="1097"/>
                    <a:pt x="1159" y="1097"/>
                  </a:cubicBezTo>
                  <a:cubicBezTo>
                    <a:pt x="1160" y="1103"/>
                    <a:pt x="1166" y="1106"/>
                    <a:pt x="1167" y="1111"/>
                  </a:cubicBezTo>
                  <a:cubicBezTo>
                    <a:pt x="1167" y="1112"/>
                    <a:pt x="1165" y="1113"/>
                    <a:pt x="1166" y="1114"/>
                  </a:cubicBezTo>
                  <a:cubicBezTo>
                    <a:pt x="1168" y="1117"/>
                    <a:pt x="1173" y="1119"/>
                    <a:pt x="1170" y="1125"/>
                  </a:cubicBezTo>
                  <a:cubicBezTo>
                    <a:pt x="1173" y="1127"/>
                    <a:pt x="1176" y="1130"/>
                    <a:pt x="1177" y="1135"/>
                  </a:cubicBezTo>
                  <a:cubicBezTo>
                    <a:pt x="1185" y="1138"/>
                    <a:pt x="1193" y="1135"/>
                    <a:pt x="1201" y="1139"/>
                  </a:cubicBezTo>
                  <a:cubicBezTo>
                    <a:pt x="1202" y="1136"/>
                    <a:pt x="1204" y="1135"/>
                    <a:pt x="1205" y="1133"/>
                  </a:cubicBezTo>
                  <a:cubicBezTo>
                    <a:pt x="1198" y="1129"/>
                    <a:pt x="1198" y="1121"/>
                    <a:pt x="1194" y="1114"/>
                  </a:cubicBezTo>
                  <a:close/>
                  <a:moveTo>
                    <a:pt x="1073" y="1080"/>
                  </a:moveTo>
                  <a:cubicBezTo>
                    <a:pt x="1077" y="1081"/>
                    <a:pt x="1078" y="1078"/>
                    <a:pt x="1079" y="1074"/>
                  </a:cubicBezTo>
                  <a:cubicBezTo>
                    <a:pt x="1077" y="1073"/>
                    <a:pt x="1076" y="1072"/>
                    <a:pt x="1074" y="1072"/>
                  </a:cubicBezTo>
                  <a:cubicBezTo>
                    <a:pt x="1073" y="1074"/>
                    <a:pt x="1071" y="1078"/>
                    <a:pt x="1073" y="1080"/>
                  </a:cubicBezTo>
                  <a:close/>
                  <a:moveTo>
                    <a:pt x="1399" y="1111"/>
                  </a:moveTo>
                  <a:cubicBezTo>
                    <a:pt x="1401" y="1111"/>
                    <a:pt x="1401" y="1110"/>
                    <a:pt x="1402" y="1110"/>
                  </a:cubicBezTo>
                  <a:cubicBezTo>
                    <a:pt x="1402" y="1109"/>
                    <a:pt x="1402" y="1107"/>
                    <a:pt x="1402" y="1105"/>
                  </a:cubicBezTo>
                  <a:cubicBezTo>
                    <a:pt x="1401" y="1103"/>
                    <a:pt x="1396" y="1104"/>
                    <a:pt x="1394" y="1103"/>
                  </a:cubicBezTo>
                  <a:cubicBezTo>
                    <a:pt x="1395" y="1106"/>
                    <a:pt x="1396" y="1110"/>
                    <a:pt x="1399" y="1111"/>
                  </a:cubicBezTo>
                  <a:close/>
                  <a:moveTo>
                    <a:pt x="1321" y="1124"/>
                  </a:moveTo>
                  <a:cubicBezTo>
                    <a:pt x="1324" y="1124"/>
                    <a:pt x="1324" y="1121"/>
                    <a:pt x="1324" y="1118"/>
                  </a:cubicBezTo>
                  <a:cubicBezTo>
                    <a:pt x="1321" y="1118"/>
                    <a:pt x="1319" y="1120"/>
                    <a:pt x="1319" y="1123"/>
                  </a:cubicBezTo>
                  <a:cubicBezTo>
                    <a:pt x="1319" y="1123"/>
                    <a:pt x="1321" y="1123"/>
                    <a:pt x="1321" y="1124"/>
                  </a:cubicBezTo>
                  <a:close/>
                  <a:moveTo>
                    <a:pt x="1318" y="1124"/>
                  </a:moveTo>
                  <a:cubicBezTo>
                    <a:pt x="1315" y="1123"/>
                    <a:pt x="1315" y="1125"/>
                    <a:pt x="1315" y="1127"/>
                  </a:cubicBezTo>
                  <a:cubicBezTo>
                    <a:pt x="1317" y="1128"/>
                    <a:pt x="1318" y="1126"/>
                    <a:pt x="1318" y="1124"/>
                  </a:cubicBezTo>
                  <a:close/>
                  <a:moveTo>
                    <a:pt x="1345" y="1125"/>
                  </a:moveTo>
                  <a:cubicBezTo>
                    <a:pt x="1345" y="1132"/>
                    <a:pt x="1345" y="1132"/>
                    <a:pt x="1345" y="1132"/>
                  </a:cubicBezTo>
                  <a:cubicBezTo>
                    <a:pt x="1349" y="1133"/>
                    <a:pt x="1349" y="1123"/>
                    <a:pt x="1345" y="1125"/>
                  </a:cubicBezTo>
                  <a:close/>
                  <a:moveTo>
                    <a:pt x="1341" y="1137"/>
                  </a:moveTo>
                  <a:cubicBezTo>
                    <a:pt x="1332" y="1139"/>
                    <a:pt x="1321" y="1137"/>
                    <a:pt x="1318" y="1129"/>
                  </a:cubicBezTo>
                  <a:cubicBezTo>
                    <a:pt x="1312" y="1142"/>
                    <a:pt x="1315" y="1151"/>
                    <a:pt x="1311" y="1163"/>
                  </a:cubicBezTo>
                  <a:cubicBezTo>
                    <a:pt x="1317" y="1161"/>
                    <a:pt x="1316" y="1168"/>
                    <a:pt x="1323" y="1170"/>
                  </a:cubicBezTo>
                  <a:cubicBezTo>
                    <a:pt x="1325" y="1164"/>
                    <a:pt x="1332" y="1162"/>
                    <a:pt x="1334" y="1155"/>
                  </a:cubicBezTo>
                  <a:cubicBezTo>
                    <a:pt x="1333" y="1154"/>
                    <a:pt x="1331" y="1155"/>
                    <a:pt x="1331" y="1152"/>
                  </a:cubicBezTo>
                  <a:cubicBezTo>
                    <a:pt x="1335" y="1148"/>
                    <a:pt x="1338" y="1143"/>
                    <a:pt x="1341" y="1137"/>
                  </a:cubicBezTo>
                  <a:close/>
                  <a:moveTo>
                    <a:pt x="1196" y="1143"/>
                  </a:moveTo>
                  <a:cubicBezTo>
                    <a:pt x="1192" y="1143"/>
                    <a:pt x="1192" y="1143"/>
                    <a:pt x="1192" y="1143"/>
                  </a:cubicBezTo>
                  <a:cubicBezTo>
                    <a:pt x="1191" y="1146"/>
                    <a:pt x="1191" y="1151"/>
                    <a:pt x="1195" y="1151"/>
                  </a:cubicBezTo>
                  <a:cubicBezTo>
                    <a:pt x="1194" y="1148"/>
                    <a:pt x="1197" y="1147"/>
                    <a:pt x="1196" y="1143"/>
                  </a:cubicBezTo>
                  <a:close/>
                  <a:moveTo>
                    <a:pt x="284" y="1289"/>
                  </a:moveTo>
                  <a:cubicBezTo>
                    <a:pt x="281" y="1281"/>
                    <a:pt x="276" y="1275"/>
                    <a:pt x="270" y="1271"/>
                  </a:cubicBezTo>
                  <a:cubicBezTo>
                    <a:pt x="272" y="1279"/>
                    <a:pt x="278" y="1284"/>
                    <a:pt x="284" y="1289"/>
                  </a:cubicBezTo>
                  <a:close/>
                  <a:moveTo>
                    <a:pt x="286" y="1293"/>
                  </a:moveTo>
                  <a:cubicBezTo>
                    <a:pt x="286" y="1295"/>
                    <a:pt x="287" y="1296"/>
                    <a:pt x="290" y="1296"/>
                  </a:cubicBezTo>
                  <a:cubicBezTo>
                    <a:pt x="290" y="1293"/>
                    <a:pt x="288" y="1293"/>
                    <a:pt x="286" y="1293"/>
                  </a:cubicBezTo>
                  <a:close/>
                  <a:moveTo>
                    <a:pt x="350" y="1358"/>
                  </a:moveTo>
                  <a:cubicBezTo>
                    <a:pt x="349" y="1355"/>
                    <a:pt x="347" y="1352"/>
                    <a:pt x="343" y="1351"/>
                  </a:cubicBezTo>
                  <a:cubicBezTo>
                    <a:pt x="344" y="1355"/>
                    <a:pt x="348" y="1356"/>
                    <a:pt x="350" y="1358"/>
                  </a:cubicBezTo>
                  <a:close/>
                  <a:moveTo>
                    <a:pt x="359" y="1369"/>
                  </a:moveTo>
                  <a:cubicBezTo>
                    <a:pt x="360" y="1371"/>
                    <a:pt x="361" y="1373"/>
                    <a:pt x="364" y="1374"/>
                  </a:cubicBezTo>
                  <a:cubicBezTo>
                    <a:pt x="363" y="1372"/>
                    <a:pt x="361" y="1367"/>
                    <a:pt x="359" y="1369"/>
                  </a:cubicBezTo>
                  <a:close/>
                  <a:moveTo>
                    <a:pt x="369" y="1383"/>
                  </a:moveTo>
                  <a:cubicBezTo>
                    <a:pt x="373" y="1382"/>
                    <a:pt x="369" y="1389"/>
                    <a:pt x="373" y="1388"/>
                  </a:cubicBezTo>
                  <a:cubicBezTo>
                    <a:pt x="374" y="1384"/>
                    <a:pt x="371" y="1380"/>
                    <a:pt x="369" y="1383"/>
                  </a:cubicBezTo>
                  <a:close/>
                  <a:moveTo>
                    <a:pt x="364" y="1432"/>
                  </a:moveTo>
                  <a:cubicBezTo>
                    <a:pt x="361" y="1431"/>
                    <a:pt x="359" y="1429"/>
                    <a:pt x="356" y="1428"/>
                  </a:cubicBezTo>
                  <a:cubicBezTo>
                    <a:pt x="358" y="1433"/>
                    <a:pt x="356" y="1436"/>
                    <a:pt x="360" y="1439"/>
                  </a:cubicBezTo>
                  <a:cubicBezTo>
                    <a:pt x="363" y="1440"/>
                    <a:pt x="365" y="1440"/>
                    <a:pt x="366" y="1438"/>
                  </a:cubicBezTo>
                  <a:cubicBezTo>
                    <a:pt x="363" y="1436"/>
                    <a:pt x="362" y="1435"/>
                    <a:pt x="364" y="1432"/>
                  </a:cubicBezTo>
                  <a:close/>
                  <a:moveTo>
                    <a:pt x="732" y="67"/>
                  </a:moveTo>
                  <a:cubicBezTo>
                    <a:pt x="718" y="64"/>
                    <a:pt x="703" y="59"/>
                    <a:pt x="689" y="58"/>
                  </a:cubicBezTo>
                  <a:cubicBezTo>
                    <a:pt x="682" y="54"/>
                    <a:pt x="675" y="54"/>
                    <a:pt x="668" y="48"/>
                  </a:cubicBezTo>
                  <a:cubicBezTo>
                    <a:pt x="680" y="51"/>
                    <a:pt x="684" y="46"/>
                    <a:pt x="696" y="47"/>
                  </a:cubicBezTo>
                  <a:cubicBezTo>
                    <a:pt x="697" y="42"/>
                    <a:pt x="691" y="44"/>
                    <a:pt x="691" y="41"/>
                  </a:cubicBezTo>
                  <a:cubicBezTo>
                    <a:pt x="694" y="41"/>
                    <a:pt x="697" y="42"/>
                    <a:pt x="701" y="42"/>
                  </a:cubicBezTo>
                  <a:cubicBezTo>
                    <a:pt x="702" y="40"/>
                    <a:pt x="703" y="39"/>
                    <a:pt x="704" y="37"/>
                  </a:cubicBezTo>
                  <a:cubicBezTo>
                    <a:pt x="702" y="34"/>
                    <a:pt x="698" y="39"/>
                    <a:pt x="697" y="36"/>
                  </a:cubicBezTo>
                  <a:cubicBezTo>
                    <a:pt x="700" y="35"/>
                    <a:pt x="702" y="35"/>
                    <a:pt x="703" y="32"/>
                  </a:cubicBezTo>
                  <a:cubicBezTo>
                    <a:pt x="693" y="28"/>
                    <a:pt x="680" y="24"/>
                    <a:pt x="665" y="25"/>
                  </a:cubicBezTo>
                  <a:cubicBezTo>
                    <a:pt x="664" y="22"/>
                    <a:pt x="665" y="22"/>
                    <a:pt x="661" y="21"/>
                  </a:cubicBezTo>
                  <a:cubicBezTo>
                    <a:pt x="670" y="20"/>
                    <a:pt x="687" y="24"/>
                    <a:pt x="692" y="14"/>
                  </a:cubicBezTo>
                  <a:cubicBezTo>
                    <a:pt x="678" y="11"/>
                    <a:pt x="670" y="15"/>
                    <a:pt x="657" y="14"/>
                  </a:cubicBezTo>
                  <a:cubicBezTo>
                    <a:pt x="662" y="10"/>
                    <a:pt x="670" y="9"/>
                    <a:pt x="675" y="5"/>
                  </a:cubicBezTo>
                  <a:cubicBezTo>
                    <a:pt x="669" y="3"/>
                    <a:pt x="658" y="6"/>
                    <a:pt x="655" y="0"/>
                  </a:cubicBezTo>
                  <a:cubicBezTo>
                    <a:pt x="626" y="0"/>
                    <a:pt x="595" y="8"/>
                    <a:pt x="569" y="17"/>
                  </a:cubicBezTo>
                  <a:cubicBezTo>
                    <a:pt x="555" y="11"/>
                    <a:pt x="540" y="23"/>
                    <a:pt x="526" y="24"/>
                  </a:cubicBezTo>
                  <a:cubicBezTo>
                    <a:pt x="527" y="24"/>
                    <a:pt x="527" y="23"/>
                    <a:pt x="525" y="23"/>
                  </a:cubicBezTo>
                  <a:cubicBezTo>
                    <a:pt x="524" y="25"/>
                    <a:pt x="522" y="24"/>
                    <a:pt x="524" y="26"/>
                  </a:cubicBezTo>
                  <a:cubicBezTo>
                    <a:pt x="515" y="28"/>
                    <a:pt x="507" y="32"/>
                    <a:pt x="499" y="35"/>
                  </a:cubicBezTo>
                  <a:cubicBezTo>
                    <a:pt x="460" y="51"/>
                    <a:pt x="419" y="76"/>
                    <a:pt x="386" y="98"/>
                  </a:cubicBezTo>
                  <a:cubicBezTo>
                    <a:pt x="324" y="140"/>
                    <a:pt x="261" y="193"/>
                    <a:pt x="212" y="249"/>
                  </a:cubicBezTo>
                  <a:cubicBezTo>
                    <a:pt x="191" y="272"/>
                    <a:pt x="179" y="300"/>
                    <a:pt x="165" y="324"/>
                  </a:cubicBezTo>
                  <a:cubicBezTo>
                    <a:pt x="168" y="328"/>
                    <a:pt x="160" y="331"/>
                    <a:pt x="163" y="334"/>
                  </a:cubicBezTo>
                  <a:cubicBezTo>
                    <a:pt x="165" y="330"/>
                    <a:pt x="166" y="337"/>
                    <a:pt x="164" y="337"/>
                  </a:cubicBezTo>
                  <a:cubicBezTo>
                    <a:pt x="166" y="338"/>
                    <a:pt x="167" y="335"/>
                    <a:pt x="168" y="337"/>
                  </a:cubicBezTo>
                  <a:cubicBezTo>
                    <a:pt x="166" y="341"/>
                    <a:pt x="165" y="346"/>
                    <a:pt x="170" y="347"/>
                  </a:cubicBezTo>
                  <a:cubicBezTo>
                    <a:pt x="168" y="379"/>
                    <a:pt x="140" y="395"/>
                    <a:pt x="144" y="426"/>
                  </a:cubicBezTo>
                  <a:cubicBezTo>
                    <a:pt x="152" y="412"/>
                    <a:pt x="160" y="398"/>
                    <a:pt x="167" y="384"/>
                  </a:cubicBezTo>
                  <a:cubicBezTo>
                    <a:pt x="167" y="372"/>
                    <a:pt x="176" y="369"/>
                    <a:pt x="181" y="360"/>
                  </a:cubicBezTo>
                  <a:cubicBezTo>
                    <a:pt x="183" y="361"/>
                    <a:pt x="182" y="364"/>
                    <a:pt x="185" y="363"/>
                  </a:cubicBezTo>
                  <a:cubicBezTo>
                    <a:pt x="191" y="353"/>
                    <a:pt x="203" y="345"/>
                    <a:pt x="215" y="346"/>
                  </a:cubicBezTo>
                  <a:cubicBezTo>
                    <a:pt x="213" y="351"/>
                    <a:pt x="211" y="355"/>
                    <a:pt x="208" y="359"/>
                  </a:cubicBezTo>
                  <a:cubicBezTo>
                    <a:pt x="211" y="358"/>
                    <a:pt x="213" y="355"/>
                    <a:pt x="216" y="354"/>
                  </a:cubicBezTo>
                  <a:cubicBezTo>
                    <a:pt x="216" y="354"/>
                    <a:pt x="214" y="356"/>
                    <a:pt x="215" y="356"/>
                  </a:cubicBezTo>
                  <a:cubicBezTo>
                    <a:pt x="221" y="356"/>
                    <a:pt x="223" y="349"/>
                    <a:pt x="231" y="343"/>
                  </a:cubicBezTo>
                  <a:cubicBezTo>
                    <a:pt x="233" y="343"/>
                    <a:pt x="232" y="346"/>
                    <a:pt x="234" y="345"/>
                  </a:cubicBezTo>
                  <a:cubicBezTo>
                    <a:pt x="237" y="341"/>
                    <a:pt x="241" y="339"/>
                    <a:pt x="245" y="337"/>
                  </a:cubicBezTo>
                  <a:cubicBezTo>
                    <a:pt x="245" y="340"/>
                    <a:pt x="245" y="340"/>
                    <a:pt x="245" y="340"/>
                  </a:cubicBezTo>
                  <a:cubicBezTo>
                    <a:pt x="250" y="342"/>
                    <a:pt x="251" y="335"/>
                    <a:pt x="253" y="337"/>
                  </a:cubicBezTo>
                  <a:cubicBezTo>
                    <a:pt x="252" y="340"/>
                    <a:pt x="251" y="342"/>
                    <a:pt x="252" y="345"/>
                  </a:cubicBezTo>
                  <a:cubicBezTo>
                    <a:pt x="256" y="348"/>
                    <a:pt x="261" y="345"/>
                    <a:pt x="263" y="345"/>
                  </a:cubicBezTo>
                  <a:cubicBezTo>
                    <a:pt x="265" y="350"/>
                    <a:pt x="267" y="353"/>
                    <a:pt x="269" y="356"/>
                  </a:cubicBezTo>
                  <a:cubicBezTo>
                    <a:pt x="267" y="362"/>
                    <a:pt x="262" y="369"/>
                    <a:pt x="263" y="376"/>
                  </a:cubicBezTo>
                  <a:cubicBezTo>
                    <a:pt x="264" y="376"/>
                    <a:pt x="266" y="375"/>
                    <a:pt x="267" y="377"/>
                  </a:cubicBezTo>
                  <a:cubicBezTo>
                    <a:pt x="267" y="409"/>
                    <a:pt x="253" y="443"/>
                    <a:pt x="230" y="460"/>
                  </a:cubicBezTo>
                  <a:cubicBezTo>
                    <a:pt x="223" y="457"/>
                    <a:pt x="211" y="460"/>
                    <a:pt x="206" y="465"/>
                  </a:cubicBezTo>
                  <a:cubicBezTo>
                    <a:pt x="208" y="459"/>
                    <a:pt x="203" y="460"/>
                    <a:pt x="201" y="457"/>
                  </a:cubicBezTo>
                  <a:cubicBezTo>
                    <a:pt x="199" y="450"/>
                    <a:pt x="204" y="445"/>
                    <a:pt x="201" y="438"/>
                  </a:cubicBezTo>
                  <a:cubicBezTo>
                    <a:pt x="190" y="438"/>
                    <a:pt x="182" y="442"/>
                    <a:pt x="174" y="446"/>
                  </a:cubicBezTo>
                  <a:cubicBezTo>
                    <a:pt x="173" y="457"/>
                    <a:pt x="179" y="464"/>
                    <a:pt x="176" y="479"/>
                  </a:cubicBezTo>
                  <a:cubicBezTo>
                    <a:pt x="179" y="479"/>
                    <a:pt x="178" y="476"/>
                    <a:pt x="181" y="477"/>
                  </a:cubicBezTo>
                  <a:cubicBezTo>
                    <a:pt x="176" y="481"/>
                    <a:pt x="181" y="491"/>
                    <a:pt x="178" y="499"/>
                  </a:cubicBezTo>
                  <a:cubicBezTo>
                    <a:pt x="179" y="500"/>
                    <a:pt x="183" y="499"/>
                    <a:pt x="182" y="503"/>
                  </a:cubicBezTo>
                  <a:cubicBezTo>
                    <a:pt x="175" y="505"/>
                    <a:pt x="172" y="508"/>
                    <a:pt x="165" y="512"/>
                  </a:cubicBezTo>
                  <a:cubicBezTo>
                    <a:pt x="153" y="509"/>
                    <a:pt x="145" y="524"/>
                    <a:pt x="138" y="532"/>
                  </a:cubicBezTo>
                  <a:cubicBezTo>
                    <a:pt x="139" y="542"/>
                    <a:pt x="138" y="555"/>
                    <a:pt x="141" y="565"/>
                  </a:cubicBezTo>
                  <a:cubicBezTo>
                    <a:pt x="140" y="581"/>
                    <a:pt x="132" y="593"/>
                    <a:pt x="128" y="608"/>
                  </a:cubicBezTo>
                  <a:cubicBezTo>
                    <a:pt x="123" y="608"/>
                    <a:pt x="123" y="614"/>
                    <a:pt x="119" y="615"/>
                  </a:cubicBezTo>
                  <a:cubicBezTo>
                    <a:pt x="116" y="611"/>
                    <a:pt x="111" y="615"/>
                    <a:pt x="109" y="611"/>
                  </a:cubicBezTo>
                  <a:cubicBezTo>
                    <a:pt x="101" y="617"/>
                    <a:pt x="97" y="627"/>
                    <a:pt x="92" y="636"/>
                  </a:cubicBezTo>
                  <a:cubicBezTo>
                    <a:pt x="89" y="634"/>
                    <a:pt x="87" y="631"/>
                    <a:pt x="84" y="629"/>
                  </a:cubicBezTo>
                  <a:cubicBezTo>
                    <a:pt x="84" y="624"/>
                    <a:pt x="85" y="617"/>
                    <a:pt x="82" y="615"/>
                  </a:cubicBezTo>
                  <a:cubicBezTo>
                    <a:pt x="78" y="614"/>
                    <a:pt x="79" y="617"/>
                    <a:pt x="76" y="617"/>
                  </a:cubicBezTo>
                  <a:cubicBezTo>
                    <a:pt x="76" y="616"/>
                    <a:pt x="77" y="614"/>
                    <a:pt x="76" y="614"/>
                  </a:cubicBezTo>
                  <a:cubicBezTo>
                    <a:pt x="75" y="615"/>
                    <a:pt x="74" y="617"/>
                    <a:pt x="72" y="617"/>
                  </a:cubicBezTo>
                  <a:cubicBezTo>
                    <a:pt x="71" y="614"/>
                    <a:pt x="70" y="614"/>
                    <a:pt x="67" y="615"/>
                  </a:cubicBezTo>
                  <a:cubicBezTo>
                    <a:pt x="67" y="612"/>
                    <a:pt x="67" y="610"/>
                    <a:pt x="65" y="610"/>
                  </a:cubicBezTo>
                  <a:cubicBezTo>
                    <a:pt x="63" y="612"/>
                    <a:pt x="60" y="614"/>
                    <a:pt x="60" y="619"/>
                  </a:cubicBezTo>
                  <a:cubicBezTo>
                    <a:pt x="60" y="621"/>
                    <a:pt x="64" y="620"/>
                    <a:pt x="64" y="623"/>
                  </a:cubicBezTo>
                  <a:cubicBezTo>
                    <a:pt x="61" y="625"/>
                    <a:pt x="63" y="631"/>
                    <a:pt x="60" y="633"/>
                  </a:cubicBezTo>
                  <a:cubicBezTo>
                    <a:pt x="60" y="630"/>
                    <a:pt x="55" y="632"/>
                    <a:pt x="53" y="630"/>
                  </a:cubicBezTo>
                  <a:cubicBezTo>
                    <a:pt x="46" y="635"/>
                    <a:pt x="49" y="645"/>
                    <a:pt x="45" y="651"/>
                  </a:cubicBezTo>
                  <a:cubicBezTo>
                    <a:pt x="43" y="654"/>
                    <a:pt x="39" y="655"/>
                    <a:pt x="37" y="657"/>
                  </a:cubicBezTo>
                  <a:cubicBezTo>
                    <a:pt x="34" y="661"/>
                    <a:pt x="36" y="668"/>
                    <a:pt x="31" y="671"/>
                  </a:cubicBezTo>
                  <a:cubicBezTo>
                    <a:pt x="30" y="671"/>
                    <a:pt x="29" y="670"/>
                    <a:pt x="27" y="671"/>
                  </a:cubicBezTo>
                  <a:cubicBezTo>
                    <a:pt x="21" y="675"/>
                    <a:pt x="25" y="682"/>
                    <a:pt x="22" y="689"/>
                  </a:cubicBezTo>
                  <a:cubicBezTo>
                    <a:pt x="20" y="687"/>
                    <a:pt x="23" y="681"/>
                    <a:pt x="19" y="681"/>
                  </a:cubicBezTo>
                  <a:cubicBezTo>
                    <a:pt x="21" y="694"/>
                    <a:pt x="15" y="700"/>
                    <a:pt x="19" y="711"/>
                  </a:cubicBezTo>
                  <a:cubicBezTo>
                    <a:pt x="16" y="710"/>
                    <a:pt x="18" y="714"/>
                    <a:pt x="15" y="714"/>
                  </a:cubicBezTo>
                  <a:cubicBezTo>
                    <a:pt x="8" y="753"/>
                    <a:pt x="0" y="800"/>
                    <a:pt x="3" y="845"/>
                  </a:cubicBezTo>
                  <a:cubicBezTo>
                    <a:pt x="4" y="874"/>
                    <a:pt x="7" y="900"/>
                    <a:pt x="10" y="925"/>
                  </a:cubicBezTo>
                  <a:cubicBezTo>
                    <a:pt x="22" y="1004"/>
                    <a:pt x="40" y="1074"/>
                    <a:pt x="66" y="1136"/>
                  </a:cubicBezTo>
                  <a:cubicBezTo>
                    <a:pt x="81" y="1172"/>
                    <a:pt x="97" y="1206"/>
                    <a:pt x="116" y="1234"/>
                  </a:cubicBezTo>
                  <a:cubicBezTo>
                    <a:pt x="115" y="1232"/>
                    <a:pt x="115" y="1229"/>
                    <a:pt x="117" y="1227"/>
                  </a:cubicBezTo>
                  <a:cubicBezTo>
                    <a:pt x="134" y="1241"/>
                    <a:pt x="145" y="1273"/>
                    <a:pt x="172" y="1283"/>
                  </a:cubicBezTo>
                  <a:cubicBezTo>
                    <a:pt x="177" y="1290"/>
                    <a:pt x="184" y="1296"/>
                    <a:pt x="193" y="1299"/>
                  </a:cubicBezTo>
                  <a:cubicBezTo>
                    <a:pt x="195" y="1290"/>
                    <a:pt x="188" y="1276"/>
                    <a:pt x="187" y="1270"/>
                  </a:cubicBezTo>
                  <a:cubicBezTo>
                    <a:pt x="197" y="1287"/>
                    <a:pt x="206" y="1311"/>
                    <a:pt x="224" y="1317"/>
                  </a:cubicBezTo>
                  <a:cubicBezTo>
                    <a:pt x="228" y="1313"/>
                    <a:pt x="231" y="1308"/>
                    <a:pt x="231" y="1303"/>
                  </a:cubicBezTo>
                  <a:cubicBezTo>
                    <a:pt x="238" y="1307"/>
                    <a:pt x="241" y="1316"/>
                    <a:pt x="248" y="1319"/>
                  </a:cubicBezTo>
                  <a:cubicBezTo>
                    <a:pt x="249" y="1319"/>
                    <a:pt x="249" y="1318"/>
                    <a:pt x="250" y="1319"/>
                  </a:cubicBezTo>
                  <a:cubicBezTo>
                    <a:pt x="251" y="1313"/>
                    <a:pt x="247" y="1308"/>
                    <a:pt x="248" y="1306"/>
                  </a:cubicBezTo>
                  <a:cubicBezTo>
                    <a:pt x="254" y="1312"/>
                    <a:pt x="261" y="1316"/>
                    <a:pt x="263" y="1325"/>
                  </a:cubicBezTo>
                  <a:cubicBezTo>
                    <a:pt x="261" y="1325"/>
                    <a:pt x="260" y="1324"/>
                    <a:pt x="259" y="1323"/>
                  </a:cubicBezTo>
                  <a:cubicBezTo>
                    <a:pt x="259" y="1328"/>
                    <a:pt x="262" y="1331"/>
                    <a:pt x="267" y="1332"/>
                  </a:cubicBezTo>
                  <a:cubicBezTo>
                    <a:pt x="266" y="1329"/>
                    <a:pt x="270" y="1330"/>
                    <a:pt x="271" y="1330"/>
                  </a:cubicBezTo>
                  <a:cubicBezTo>
                    <a:pt x="278" y="1334"/>
                    <a:pt x="279" y="1342"/>
                    <a:pt x="288" y="1343"/>
                  </a:cubicBezTo>
                  <a:cubicBezTo>
                    <a:pt x="307" y="1338"/>
                    <a:pt x="305" y="1369"/>
                    <a:pt x="319" y="1374"/>
                  </a:cubicBezTo>
                  <a:cubicBezTo>
                    <a:pt x="329" y="1373"/>
                    <a:pt x="332" y="1378"/>
                    <a:pt x="337" y="1382"/>
                  </a:cubicBezTo>
                  <a:cubicBezTo>
                    <a:pt x="352" y="1381"/>
                    <a:pt x="352" y="1394"/>
                    <a:pt x="361" y="1399"/>
                  </a:cubicBezTo>
                  <a:cubicBezTo>
                    <a:pt x="362" y="1395"/>
                    <a:pt x="375" y="1396"/>
                    <a:pt x="372" y="1400"/>
                  </a:cubicBezTo>
                  <a:cubicBezTo>
                    <a:pt x="371" y="1399"/>
                    <a:pt x="368" y="1399"/>
                    <a:pt x="365" y="1399"/>
                  </a:cubicBezTo>
                  <a:cubicBezTo>
                    <a:pt x="365" y="1407"/>
                    <a:pt x="373" y="1411"/>
                    <a:pt x="378" y="1416"/>
                  </a:cubicBezTo>
                  <a:cubicBezTo>
                    <a:pt x="383" y="1422"/>
                    <a:pt x="384" y="1431"/>
                    <a:pt x="391" y="1435"/>
                  </a:cubicBezTo>
                  <a:cubicBezTo>
                    <a:pt x="392" y="1431"/>
                    <a:pt x="391" y="1431"/>
                    <a:pt x="392" y="1429"/>
                  </a:cubicBezTo>
                  <a:cubicBezTo>
                    <a:pt x="393" y="1432"/>
                    <a:pt x="396" y="1428"/>
                    <a:pt x="397" y="1429"/>
                  </a:cubicBezTo>
                  <a:cubicBezTo>
                    <a:pt x="396" y="1422"/>
                    <a:pt x="390" y="1420"/>
                    <a:pt x="388" y="1414"/>
                  </a:cubicBezTo>
                  <a:cubicBezTo>
                    <a:pt x="390" y="1414"/>
                    <a:pt x="390" y="1416"/>
                    <a:pt x="392" y="1416"/>
                  </a:cubicBezTo>
                  <a:cubicBezTo>
                    <a:pt x="390" y="1411"/>
                    <a:pt x="387" y="1407"/>
                    <a:pt x="383" y="1404"/>
                  </a:cubicBezTo>
                  <a:cubicBezTo>
                    <a:pt x="383" y="1399"/>
                    <a:pt x="381" y="1394"/>
                    <a:pt x="375" y="1392"/>
                  </a:cubicBezTo>
                  <a:cubicBezTo>
                    <a:pt x="373" y="1393"/>
                    <a:pt x="370" y="1398"/>
                    <a:pt x="368" y="1393"/>
                  </a:cubicBezTo>
                  <a:cubicBezTo>
                    <a:pt x="370" y="1393"/>
                    <a:pt x="372" y="1393"/>
                    <a:pt x="373" y="1391"/>
                  </a:cubicBezTo>
                  <a:cubicBezTo>
                    <a:pt x="367" y="1388"/>
                    <a:pt x="368" y="1373"/>
                    <a:pt x="359" y="1376"/>
                  </a:cubicBezTo>
                  <a:cubicBezTo>
                    <a:pt x="362" y="1377"/>
                    <a:pt x="363" y="1378"/>
                    <a:pt x="362" y="1382"/>
                  </a:cubicBezTo>
                  <a:cubicBezTo>
                    <a:pt x="358" y="1381"/>
                    <a:pt x="356" y="1378"/>
                    <a:pt x="356" y="1374"/>
                  </a:cubicBezTo>
                  <a:cubicBezTo>
                    <a:pt x="357" y="1374"/>
                    <a:pt x="358" y="1376"/>
                    <a:pt x="358" y="1373"/>
                  </a:cubicBezTo>
                  <a:cubicBezTo>
                    <a:pt x="356" y="1370"/>
                    <a:pt x="351" y="1364"/>
                    <a:pt x="350" y="1363"/>
                  </a:cubicBezTo>
                  <a:cubicBezTo>
                    <a:pt x="352" y="1364"/>
                    <a:pt x="356" y="1368"/>
                    <a:pt x="359" y="1366"/>
                  </a:cubicBezTo>
                  <a:cubicBezTo>
                    <a:pt x="354" y="1361"/>
                    <a:pt x="347" y="1360"/>
                    <a:pt x="342" y="1354"/>
                  </a:cubicBezTo>
                  <a:cubicBezTo>
                    <a:pt x="342" y="1353"/>
                    <a:pt x="343" y="1350"/>
                    <a:pt x="342" y="1349"/>
                  </a:cubicBezTo>
                  <a:cubicBezTo>
                    <a:pt x="340" y="1344"/>
                    <a:pt x="329" y="1331"/>
                    <a:pt x="325" y="1332"/>
                  </a:cubicBezTo>
                  <a:cubicBezTo>
                    <a:pt x="324" y="1338"/>
                    <a:pt x="333" y="1340"/>
                    <a:pt x="332" y="1343"/>
                  </a:cubicBezTo>
                  <a:cubicBezTo>
                    <a:pt x="326" y="1344"/>
                    <a:pt x="328" y="1336"/>
                    <a:pt x="323" y="1336"/>
                  </a:cubicBezTo>
                  <a:cubicBezTo>
                    <a:pt x="322" y="1338"/>
                    <a:pt x="326" y="1339"/>
                    <a:pt x="323" y="1340"/>
                  </a:cubicBezTo>
                  <a:cubicBezTo>
                    <a:pt x="320" y="1338"/>
                    <a:pt x="321" y="1332"/>
                    <a:pt x="320" y="1329"/>
                  </a:cubicBezTo>
                  <a:cubicBezTo>
                    <a:pt x="314" y="1329"/>
                    <a:pt x="311" y="1319"/>
                    <a:pt x="316" y="1317"/>
                  </a:cubicBezTo>
                  <a:cubicBezTo>
                    <a:pt x="314" y="1313"/>
                    <a:pt x="309" y="1312"/>
                    <a:pt x="305" y="1310"/>
                  </a:cubicBezTo>
                  <a:cubicBezTo>
                    <a:pt x="303" y="1313"/>
                    <a:pt x="308" y="1317"/>
                    <a:pt x="309" y="1320"/>
                  </a:cubicBezTo>
                  <a:cubicBezTo>
                    <a:pt x="303" y="1316"/>
                    <a:pt x="299" y="1309"/>
                    <a:pt x="292" y="1307"/>
                  </a:cubicBezTo>
                  <a:cubicBezTo>
                    <a:pt x="297" y="1308"/>
                    <a:pt x="291" y="1304"/>
                    <a:pt x="295" y="1303"/>
                  </a:cubicBezTo>
                  <a:cubicBezTo>
                    <a:pt x="297" y="1306"/>
                    <a:pt x="299" y="1313"/>
                    <a:pt x="302" y="1310"/>
                  </a:cubicBezTo>
                  <a:cubicBezTo>
                    <a:pt x="299" y="1307"/>
                    <a:pt x="297" y="1303"/>
                    <a:pt x="293" y="1300"/>
                  </a:cubicBezTo>
                  <a:cubicBezTo>
                    <a:pt x="292" y="1301"/>
                    <a:pt x="293" y="1304"/>
                    <a:pt x="291" y="1303"/>
                  </a:cubicBezTo>
                  <a:cubicBezTo>
                    <a:pt x="285" y="1295"/>
                    <a:pt x="279" y="1286"/>
                    <a:pt x="269" y="1281"/>
                  </a:cubicBezTo>
                  <a:cubicBezTo>
                    <a:pt x="271" y="1275"/>
                    <a:pt x="265" y="1278"/>
                    <a:pt x="266" y="1272"/>
                  </a:cubicBezTo>
                  <a:cubicBezTo>
                    <a:pt x="268" y="1272"/>
                    <a:pt x="269" y="1275"/>
                    <a:pt x="268" y="1271"/>
                  </a:cubicBezTo>
                  <a:cubicBezTo>
                    <a:pt x="266" y="1260"/>
                    <a:pt x="254" y="1254"/>
                    <a:pt x="248" y="1245"/>
                  </a:cubicBezTo>
                  <a:cubicBezTo>
                    <a:pt x="244" y="1238"/>
                    <a:pt x="242" y="1230"/>
                    <a:pt x="237" y="1223"/>
                  </a:cubicBezTo>
                  <a:cubicBezTo>
                    <a:pt x="231" y="1216"/>
                    <a:pt x="220" y="1208"/>
                    <a:pt x="214" y="1202"/>
                  </a:cubicBezTo>
                  <a:cubicBezTo>
                    <a:pt x="209" y="1198"/>
                    <a:pt x="204" y="1191"/>
                    <a:pt x="201" y="1187"/>
                  </a:cubicBezTo>
                  <a:cubicBezTo>
                    <a:pt x="193" y="1176"/>
                    <a:pt x="191" y="1162"/>
                    <a:pt x="182" y="1150"/>
                  </a:cubicBezTo>
                  <a:cubicBezTo>
                    <a:pt x="180" y="1147"/>
                    <a:pt x="177" y="1146"/>
                    <a:pt x="175" y="1144"/>
                  </a:cubicBezTo>
                  <a:cubicBezTo>
                    <a:pt x="171" y="1137"/>
                    <a:pt x="170" y="1129"/>
                    <a:pt x="165" y="1122"/>
                  </a:cubicBezTo>
                  <a:cubicBezTo>
                    <a:pt x="155" y="1116"/>
                    <a:pt x="153" y="1102"/>
                    <a:pt x="146" y="1094"/>
                  </a:cubicBezTo>
                  <a:cubicBezTo>
                    <a:pt x="145" y="1085"/>
                    <a:pt x="139" y="1081"/>
                    <a:pt x="136" y="1075"/>
                  </a:cubicBezTo>
                  <a:cubicBezTo>
                    <a:pt x="137" y="1068"/>
                    <a:pt x="133" y="1067"/>
                    <a:pt x="130" y="1064"/>
                  </a:cubicBezTo>
                  <a:cubicBezTo>
                    <a:pt x="122" y="1042"/>
                    <a:pt x="108" y="1020"/>
                    <a:pt x="110" y="990"/>
                  </a:cubicBezTo>
                  <a:cubicBezTo>
                    <a:pt x="111" y="968"/>
                    <a:pt x="125" y="947"/>
                    <a:pt x="123" y="923"/>
                  </a:cubicBezTo>
                  <a:cubicBezTo>
                    <a:pt x="122" y="920"/>
                    <a:pt x="120" y="917"/>
                    <a:pt x="120" y="913"/>
                  </a:cubicBezTo>
                  <a:cubicBezTo>
                    <a:pt x="119" y="905"/>
                    <a:pt x="120" y="896"/>
                    <a:pt x="120" y="887"/>
                  </a:cubicBezTo>
                  <a:cubicBezTo>
                    <a:pt x="120" y="855"/>
                    <a:pt x="122" y="823"/>
                    <a:pt x="133" y="797"/>
                  </a:cubicBezTo>
                  <a:cubicBezTo>
                    <a:pt x="133" y="795"/>
                    <a:pt x="129" y="796"/>
                    <a:pt x="129" y="792"/>
                  </a:cubicBezTo>
                  <a:cubicBezTo>
                    <a:pt x="132" y="789"/>
                    <a:pt x="131" y="781"/>
                    <a:pt x="131" y="775"/>
                  </a:cubicBezTo>
                  <a:cubicBezTo>
                    <a:pt x="127" y="771"/>
                    <a:pt x="123" y="769"/>
                    <a:pt x="119" y="767"/>
                  </a:cubicBezTo>
                  <a:cubicBezTo>
                    <a:pt x="119" y="766"/>
                    <a:pt x="118" y="765"/>
                    <a:pt x="118" y="764"/>
                  </a:cubicBezTo>
                  <a:cubicBezTo>
                    <a:pt x="120" y="763"/>
                    <a:pt x="120" y="765"/>
                    <a:pt x="122" y="765"/>
                  </a:cubicBezTo>
                  <a:cubicBezTo>
                    <a:pt x="120" y="760"/>
                    <a:pt x="125" y="758"/>
                    <a:pt x="125" y="752"/>
                  </a:cubicBezTo>
                  <a:cubicBezTo>
                    <a:pt x="126" y="748"/>
                    <a:pt x="121" y="742"/>
                    <a:pt x="124" y="737"/>
                  </a:cubicBezTo>
                  <a:cubicBezTo>
                    <a:pt x="116" y="733"/>
                    <a:pt x="117" y="722"/>
                    <a:pt x="115" y="716"/>
                  </a:cubicBezTo>
                  <a:cubicBezTo>
                    <a:pt x="111" y="715"/>
                    <a:pt x="112" y="718"/>
                    <a:pt x="109" y="719"/>
                  </a:cubicBezTo>
                  <a:cubicBezTo>
                    <a:pt x="106" y="716"/>
                    <a:pt x="108" y="715"/>
                    <a:pt x="108" y="711"/>
                  </a:cubicBezTo>
                  <a:cubicBezTo>
                    <a:pt x="104" y="711"/>
                    <a:pt x="104" y="707"/>
                    <a:pt x="103" y="704"/>
                  </a:cubicBezTo>
                  <a:cubicBezTo>
                    <a:pt x="98" y="704"/>
                    <a:pt x="98" y="704"/>
                    <a:pt x="98" y="704"/>
                  </a:cubicBezTo>
                  <a:cubicBezTo>
                    <a:pt x="93" y="698"/>
                    <a:pt x="96" y="692"/>
                    <a:pt x="96" y="686"/>
                  </a:cubicBezTo>
                  <a:cubicBezTo>
                    <a:pt x="96" y="684"/>
                    <a:pt x="94" y="683"/>
                    <a:pt x="94" y="681"/>
                  </a:cubicBezTo>
                  <a:cubicBezTo>
                    <a:pt x="91" y="660"/>
                    <a:pt x="98" y="633"/>
                    <a:pt x="108" y="621"/>
                  </a:cubicBezTo>
                  <a:cubicBezTo>
                    <a:pt x="110" y="623"/>
                    <a:pt x="114" y="624"/>
                    <a:pt x="116" y="626"/>
                  </a:cubicBezTo>
                  <a:cubicBezTo>
                    <a:pt x="115" y="630"/>
                    <a:pt x="112" y="632"/>
                    <a:pt x="112" y="637"/>
                  </a:cubicBezTo>
                  <a:cubicBezTo>
                    <a:pt x="117" y="639"/>
                    <a:pt x="119" y="633"/>
                    <a:pt x="118" y="627"/>
                  </a:cubicBezTo>
                  <a:cubicBezTo>
                    <a:pt x="119" y="626"/>
                    <a:pt x="122" y="629"/>
                    <a:pt x="124" y="626"/>
                  </a:cubicBezTo>
                  <a:cubicBezTo>
                    <a:pt x="123" y="616"/>
                    <a:pt x="135" y="614"/>
                    <a:pt x="139" y="607"/>
                  </a:cubicBezTo>
                  <a:cubicBezTo>
                    <a:pt x="142" y="600"/>
                    <a:pt x="142" y="593"/>
                    <a:pt x="148" y="587"/>
                  </a:cubicBezTo>
                  <a:cubicBezTo>
                    <a:pt x="149" y="594"/>
                    <a:pt x="155" y="582"/>
                    <a:pt x="157" y="579"/>
                  </a:cubicBezTo>
                  <a:cubicBezTo>
                    <a:pt x="153" y="565"/>
                    <a:pt x="166" y="554"/>
                    <a:pt x="171" y="543"/>
                  </a:cubicBezTo>
                  <a:cubicBezTo>
                    <a:pt x="169" y="540"/>
                    <a:pt x="168" y="538"/>
                    <a:pt x="172" y="536"/>
                  </a:cubicBezTo>
                  <a:cubicBezTo>
                    <a:pt x="180" y="539"/>
                    <a:pt x="191" y="525"/>
                    <a:pt x="196" y="521"/>
                  </a:cubicBezTo>
                  <a:cubicBezTo>
                    <a:pt x="197" y="519"/>
                    <a:pt x="200" y="519"/>
                    <a:pt x="202" y="518"/>
                  </a:cubicBezTo>
                  <a:cubicBezTo>
                    <a:pt x="213" y="509"/>
                    <a:pt x="220" y="483"/>
                    <a:pt x="233" y="480"/>
                  </a:cubicBezTo>
                  <a:cubicBezTo>
                    <a:pt x="239" y="479"/>
                    <a:pt x="243" y="485"/>
                    <a:pt x="249" y="482"/>
                  </a:cubicBezTo>
                  <a:cubicBezTo>
                    <a:pt x="251" y="477"/>
                    <a:pt x="258" y="477"/>
                    <a:pt x="262" y="475"/>
                  </a:cubicBezTo>
                  <a:cubicBezTo>
                    <a:pt x="266" y="472"/>
                    <a:pt x="268" y="466"/>
                    <a:pt x="272" y="463"/>
                  </a:cubicBezTo>
                  <a:cubicBezTo>
                    <a:pt x="277" y="459"/>
                    <a:pt x="285" y="458"/>
                    <a:pt x="290" y="455"/>
                  </a:cubicBezTo>
                  <a:cubicBezTo>
                    <a:pt x="294" y="451"/>
                    <a:pt x="296" y="444"/>
                    <a:pt x="300" y="441"/>
                  </a:cubicBezTo>
                  <a:cubicBezTo>
                    <a:pt x="304" y="438"/>
                    <a:pt x="308" y="440"/>
                    <a:pt x="312" y="437"/>
                  </a:cubicBezTo>
                  <a:cubicBezTo>
                    <a:pt x="314" y="435"/>
                    <a:pt x="314" y="431"/>
                    <a:pt x="317" y="428"/>
                  </a:cubicBezTo>
                  <a:cubicBezTo>
                    <a:pt x="325" y="419"/>
                    <a:pt x="338" y="420"/>
                    <a:pt x="338" y="407"/>
                  </a:cubicBezTo>
                  <a:cubicBezTo>
                    <a:pt x="334" y="405"/>
                    <a:pt x="335" y="399"/>
                    <a:pt x="332" y="397"/>
                  </a:cubicBezTo>
                  <a:cubicBezTo>
                    <a:pt x="339" y="382"/>
                    <a:pt x="347" y="367"/>
                    <a:pt x="361" y="359"/>
                  </a:cubicBezTo>
                  <a:cubicBezTo>
                    <a:pt x="361" y="356"/>
                    <a:pt x="359" y="356"/>
                    <a:pt x="360" y="354"/>
                  </a:cubicBezTo>
                  <a:cubicBezTo>
                    <a:pt x="365" y="351"/>
                    <a:pt x="370" y="348"/>
                    <a:pt x="374" y="344"/>
                  </a:cubicBezTo>
                  <a:cubicBezTo>
                    <a:pt x="374" y="341"/>
                    <a:pt x="370" y="342"/>
                    <a:pt x="371" y="337"/>
                  </a:cubicBezTo>
                  <a:cubicBezTo>
                    <a:pt x="388" y="325"/>
                    <a:pt x="401" y="308"/>
                    <a:pt x="408" y="286"/>
                  </a:cubicBezTo>
                  <a:cubicBezTo>
                    <a:pt x="413" y="284"/>
                    <a:pt x="417" y="281"/>
                    <a:pt x="422" y="279"/>
                  </a:cubicBezTo>
                  <a:cubicBezTo>
                    <a:pt x="424" y="297"/>
                    <a:pt x="412" y="301"/>
                    <a:pt x="406" y="311"/>
                  </a:cubicBezTo>
                  <a:cubicBezTo>
                    <a:pt x="403" y="317"/>
                    <a:pt x="402" y="325"/>
                    <a:pt x="398" y="329"/>
                  </a:cubicBezTo>
                  <a:cubicBezTo>
                    <a:pt x="396" y="331"/>
                    <a:pt x="393" y="331"/>
                    <a:pt x="391" y="334"/>
                  </a:cubicBezTo>
                  <a:cubicBezTo>
                    <a:pt x="391" y="343"/>
                    <a:pt x="386" y="348"/>
                    <a:pt x="384" y="357"/>
                  </a:cubicBezTo>
                  <a:cubicBezTo>
                    <a:pt x="376" y="358"/>
                    <a:pt x="374" y="364"/>
                    <a:pt x="373" y="372"/>
                  </a:cubicBezTo>
                  <a:cubicBezTo>
                    <a:pt x="375" y="372"/>
                    <a:pt x="375" y="374"/>
                    <a:pt x="378" y="373"/>
                  </a:cubicBezTo>
                  <a:cubicBezTo>
                    <a:pt x="383" y="372"/>
                    <a:pt x="380" y="368"/>
                    <a:pt x="382" y="365"/>
                  </a:cubicBezTo>
                  <a:cubicBezTo>
                    <a:pt x="388" y="356"/>
                    <a:pt x="405" y="350"/>
                    <a:pt x="400" y="338"/>
                  </a:cubicBezTo>
                  <a:cubicBezTo>
                    <a:pt x="403" y="335"/>
                    <a:pt x="407" y="331"/>
                    <a:pt x="410" y="327"/>
                  </a:cubicBezTo>
                  <a:cubicBezTo>
                    <a:pt x="416" y="327"/>
                    <a:pt x="423" y="320"/>
                    <a:pt x="427" y="314"/>
                  </a:cubicBezTo>
                  <a:cubicBezTo>
                    <a:pt x="423" y="314"/>
                    <a:pt x="422" y="316"/>
                    <a:pt x="419" y="316"/>
                  </a:cubicBezTo>
                  <a:cubicBezTo>
                    <a:pt x="414" y="306"/>
                    <a:pt x="425" y="301"/>
                    <a:pt x="432" y="296"/>
                  </a:cubicBezTo>
                  <a:cubicBezTo>
                    <a:pt x="440" y="280"/>
                    <a:pt x="440" y="261"/>
                    <a:pt x="455" y="252"/>
                  </a:cubicBezTo>
                  <a:cubicBezTo>
                    <a:pt x="463" y="252"/>
                    <a:pt x="465" y="246"/>
                    <a:pt x="472" y="245"/>
                  </a:cubicBezTo>
                  <a:cubicBezTo>
                    <a:pt x="470" y="233"/>
                    <a:pt x="485" y="234"/>
                    <a:pt x="481" y="223"/>
                  </a:cubicBezTo>
                  <a:cubicBezTo>
                    <a:pt x="483" y="221"/>
                    <a:pt x="486" y="221"/>
                    <a:pt x="486" y="216"/>
                  </a:cubicBezTo>
                  <a:cubicBezTo>
                    <a:pt x="487" y="213"/>
                    <a:pt x="482" y="216"/>
                    <a:pt x="483" y="213"/>
                  </a:cubicBezTo>
                  <a:cubicBezTo>
                    <a:pt x="491" y="213"/>
                    <a:pt x="494" y="204"/>
                    <a:pt x="492" y="196"/>
                  </a:cubicBezTo>
                  <a:cubicBezTo>
                    <a:pt x="493" y="194"/>
                    <a:pt x="497" y="194"/>
                    <a:pt x="497" y="191"/>
                  </a:cubicBezTo>
                  <a:cubicBezTo>
                    <a:pt x="497" y="186"/>
                    <a:pt x="492" y="186"/>
                    <a:pt x="492" y="182"/>
                  </a:cubicBezTo>
                  <a:cubicBezTo>
                    <a:pt x="495" y="167"/>
                    <a:pt x="487" y="159"/>
                    <a:pt x="484" y="146"/>
                  </a:cubicBezTo>
                  <a:cubicBezTo>
                    <a:pt x="484" y="141"/>
                    <a:pt x="491" y="134"/>
                    <a:pt x="487" y="130"/>
                  </a:cubicBezTo>
                  <a:cubicBezTo>
                    <a:pt x="498" y="125"/>
                    <a:pt x="507" y="118"/>
                    <a:pt x="512" y="111"/>
                  </a:cubicBezTo>
                  <a:cubicBezTo>
                    <a:pt x="507" y="109"/>
                    <a:pt x="503" y="115"/>
                    <a:pt x="498" y="116"/>
                  </a:cubicBezTo>
                  <a:cubicBezTo>
                    <a:pt x="498" y="114"/>
                    <a:pt x="498" y="114"/>
                    <a:pt x="499" y="113"/>
                  </a:cubicBezTo>
                  <a:cubicBezTo>
                    <a:pt x="492" y="118"/>
                    <a:pt x="487" y="126"/>
                    <a:pt x="479" y="130"/>
                  </a:cubicBezTo>
                  <a:cubicBezTo>
                    <a:pt x="478" y="133"/>
                    <a:pt x="481" y="132"/>
                    <a:pt x="482" y="134"/>
                  </a:cubicBezTo>
                  <a:cubicBezTo>
                    <a:pt x="479" y="133"/>
                    <a:pt x="478" y="135"/>
                    <a:pt x="476" y="135"/>
                  </a:cubicBezTo>
                  <a:cubicBezTo>
                    <a:pt x="477" y="137"/>
                    <a:pt x="478" y="141"/>
                    <a:pt x="474" y="141"/>
                  </a:cubicBezTo>
                  <a:cubicBezTo>
                    <a:pt x="472" y="135"/>
                    <a:pt x="473" y="130"/>
                    <a:pt x="478" y="125"/>
                  </a:cubicBezTo>
                  <a:cubicBezTo>
                    <a:pt x="480" y="123"/>
                    <a:pt x="484" y="123"/>
                    <a:pt x="487" y="121"/>
                  </a:cubicBezTo>
                  <a:cubicBezTo>
                    <a:pt x="489" y="120"/>
                    <a:pt x="489" y="118"/>
                    <a:pt x="490" y="117"/>
                  </a:cubicBezTo>
                  <a:cubicBezTo>
                    <a:pt x="496" y="112"/>
                    <a:pt x="503" y="113"/>
                    <a:pt x="508" y="108"/>
                  </a:cubicBezTo>
                  <a:cubicBezTo>
                    <a:pt x="503" y="106"/>
                    <a:pt x="506" y="101"/>
                    <a:pt x="510" y="99"/>
                  </a:cubicBezTo>
                  <a:cubicBezTo>
                    <a:pt x="509" y="100"/>
                    <a:pt x="519" y="101"/>
                    <a:pt x="516" y="97"/>
                  </a:cubicBezTo>
                  <a:cubicBezTo>
                    <a:pt x="514" y="96"/>
                    <a:pt x="512" y="100"/>
                    <a:pt x="511" y="97"/>
                  </a:cubicBezTo>
                  <a:cubicBezTo>
                    <a:pt x="511" y="95"/>
                    <a:pt x="510" y="95"/>
                    <a:pt x="511" y="94"/>
                  </a:cubicBezTo>
                  <a:cubicBezTo>
                    <a:pt x="515" y="96"/>
                    <a:pt x="520" y="97"/>
                    <a:pt x="523" y="93"/>
                  </a:cubicBezTo>
                  <a:cubicBezTo>
                    <a:pt x="521" y="91"/>
                    <a:pt x="519" y="95"/>
                    <a:pt x="519" y="93"/>
                  </a:cubicBezTo>
                  <a:cubicBezTo>
                    <a:pt x="517" y="87"/>
                    <a:pt x="525" y="87"/>
                    <a:pt x="529" y="82"/>
                  </a:cubicBezTo>
                  <a:cubicBezTo>
                    <a:pt x="531" y="78"/>
                    <a:pt x="530" y="72"/>
                    <a:pt x="534" y="71"/>
                  </a:cubicBezTo>
                  <a:cubicBezTo>
                    <a:pt x="535" y="71"/>
                    <a:pt x="538" y="78"/>
                    <a:pt x="539" y="73"/>
                  </a:cubicBezTo>
                  <a:cubicBezTo>
                    <a:pt x="539" y="69"/>
                    <a:pt x="537" y="71"/>
                    <a:pt x="537" y="66"/>
                  </a:cubicBezTo>
                  <a:cubicBezTo>
                    <a:pt x="540" y="66"/>
                    <a:pt x="539" y="64"/>
                    <a:pt x="541" y="64"/>
                  </a:cubicBezTo>
                  <a:cubicBezTo>
                    <a:pt x="541" y="67"/>
                    <a:pt x="538" y="68"/>
                    <a:pt x="540" y="70"/>
                  </a:cubicBezTo>
                  <a:cubicBezTo>
                    <a:pt x="543" y="70"/>
                    <a:pt x="542" y="67"/>
                    <a:pt x="545" y="68"/>
                  </a:cubicBezTo>
                  <a:cubicBezTo>
                    <a:pt x="543" y="69"/>
                    <a:pt x="541" y="74"/>
                    <a:pt x="545" y="74"/>
                  </a:cubicBezTo>
                  <a:cubicBezTo>
                    <a:pt x="549" y="70"/>
                    <a:pt x="548" y="67"/>
                    <a:pt x="551" y="63"/>
                  </a:cubicBezTo>
                  <a:cubicBezTo>
                    <a:pt x="547" y="63"/>
                    <a:pt x="544" y="67"/>
                    <a:pt x="542" y="63"/>
                  </a:cubicBezTo>
                  <a:cubicBezTo>
                    <a:pt x="547" y="61"/>
                    <a:pt x="548" y="62"/>
                    <a:pt x="554" y="59"/>
                  </a:cubicBezTo>
                  <a:cubicBezTo>
                    <a:pt x="553" y="60"/>
                    <a:pt x="552" y="61"/>
                    <a:pt x="554" y="62"/>
                  </a:cubicBezTo>
                  <a:cubicBezTo>
                    <a:pt x="568" y="51"/>
                    <a:pt x="591" y="49"/>
                    <a:pt x="609" y="42"/>
                  </a:cubicBezTo>
                  <a:cubicBezTo>
                    <a:pt x="609" y="43"/>
                    <a:pt x="611" y="43"/>
                    <a:pt x="612" y="43"/>
                  </a:cubicBezTo>
                  <a:cubicBezTo>
                    <a:pt x="611" y="44"/>
                    <a:pt x="611" y="45"/>
                    <a:pt x="612" y="47"/>
                  </a:cubicBezTo>
                  <a:cubicBezTo>
                    <a:pt x="622" y="44"/>
                    <a:pt x="628" y="50"/>
                    <a:pt x="635" y="48"/>
                  </a:cubicBezTo>
                  <a:cubicBezTo>
                    <a:pt x="635" y="45"/>
                    <a:pt x="631" y="48"/>
                    <a:pt x="633" y="44"/>
                  </a:cubicBezTo>
                  <a:cubicBezTo>
                    <a:pt x="637" y="45"/>
                    <a:pt x="640" y="47"/>
                    <a:pt x="645" y="47"/>
                  </a:cubicBezTo>
                  <a:cubicBezTo>
                    <a:pt x="646" y="48"/>
                    <a:pt x="646" y="49"/>
                    <a:pt x="645" y="50"/>
                  </a:cubicBezTo>
                  <a:cubicBezTo>
                    <a:pt x="649" y="50"/>
                    <a:pt x="651" y="52"/>
                    <a:pt x="653" y="54"/>
                  </a:cubicBezTo>
                  <a:cubicBezTo>
                    <a:pt x="648" y="58"/>
                    <a:pt x="643" y="48"/>
                    <a:pt x="639" y="54"/>
                  </a:cubicBezTo>
                  <a:cubicBezTo>
                    <a:pt x="646" y="57"/>
                    <a:pt x="652" y="62"/>
                    <a:pt x="661" y="59"/>
                  </a:cubicBezTo>
                  <a:cubicBezTo>
                    <a:pt x="661" y="52"/>
                    <a:pt x="653" y="59"/>
                    <a:pt x="652" y="55"/>
                  </a:cubicBezTo>
                  <a:cubicBezTo>
                    <a:pt x="672" y="52"/>
                    <a:pt x="695" y="70"/>
                    <a:pt x="717" y="64"/>
                  </a:cubicBezTo>
                  <a:cubicBezTo>
                    <a:pt x="725" y="68"/>
                    <a:pt x="736" y="69"/>
                    <a:pt x="747" y="71"/>
                  </a:cubicBezTo>
                  <a:cubicBezTo>
                    <a:pt x="744" y="64"/>
                    <a:pt x="738" y="68"/>
                    <a:pt x="732" y="67"/>
                  </a:cubicBezTo>
                  <a:close/>
                  <a:moveTo>
                    <a:pt x="60" y="652"/>
                  </a:moveTo>
                  <a:cubicBezTo>
                    <a:pt x="56" y="649"/>
                    <a:pt x="61" y="641"/>
                    <a:pt x="61" y="636"/>
                  </a:cubicBezTo>
                  <a:cubicBezTo>
                    <a:pt x="66" y="642"/>
                    <a:pt x="62" y="646"/>
                    <a:pt x="60" y="652"/>
                  </a:cubicBezTo>
                  <a:close/>
                  <a:moveTo>
                    <a:pt x="380" y="1401"/>
                  </a:moveTo>
                  <a:cubicBezTo>
                    <a:pt x="381" y="1407"/>
                    <a:pt x="388" y="1407"/>
                    <a:pt x="384" y="1414"/>
                  </a:cubicBezTo>
                  <a:cubicBezTo>
                    <a:pt x="381" y="1414"/>
                    <a:pt x="383" y="1410"/>
                    <a:pt x="381" y="1410"/>
                  </a:cubicBezTo>
                  <a:cubicBezTo>
                    <a:pt x="381" y="1409"/>
                    <a:pt x="383" y="1409"/>
                    <a:pt x="384" y="1409"/>
                  </a:cubicBezTo>
                  <a:cubicBezTo>
                    <a:pt x="382" y="1407"/>
                    <a:pt x="382" y="1405"/>
                    <a:pt x="379" y="1405"/>
                  </a:cubicBezTo>
                  <a:cubicBezTo>
                    <a:pt x="380" y="1407"/>
                    <a:pt x="373" y="1409"/>
                    <a:pt x="373" y="1404"/>
                  </a:cubicBezTo>
                  <a:cubicBezTo>
                    <a:pt x="377" y="1403"/>
                    <a:pt x="375" y="1402"/>
                    <a:pt x="380" y="1401"/>
                  </a:cubicBezTo>
                  <a:close/>
                  <a:moveTo>
                    <a:pt x="119" y="1239"/>
                  </a:moveTo>
                  <a:cubicBezTo>
                    <a:pt x="118" y="1237"/>
                    <a:pt x="117" y="1236"/>
                    <a:pt x="116" y="1234"/>
                  </a:cubicBezTo>
                  <a:cubicBezTo>
                    <a:pt x="116" y="1236"/>
                    <a:pt x="117" y="1238"/>
                    <a:pt x="119" y="1239"/>
                  </a:cubicBezTo>
                  <a:close/>
                  <a:moveTo>
                    <a:pt x="1279" y="110"/>
                  </a:moveTo>
                  <a:cubicBezTo>
                    <a:pt x="1291" y="112"/>
                    <a:pt x="1291" y="124"/>
                    <a:pt x="1301" y="127"/>
                  </a:cubicBezTo>
                  <a:cubicBezTo>
                    <a:pt x="1304" y="123"/>
                    <a:pt x="1297" y="119"/>
                    <a:pt x="1301" y="115"/>
                  </a:cubicBezTo>
                  <a:cubicBezTo>
                    <a:pt x="1292" y="82"/>
                    <a:pt x="1253" y="76"/>
                    <a:pt x="1235" y="55"/>
                  </a:cubicBezTo>
                  <a:cubicBezTo>
                    <a:pt x="1241" y="60"/>
                    <a:pt x="1248" y="64"/>
                    <a:pt x="1255" y="68"/>
                  </a:cubicBezTo>
                  <a:cubicBezTo>
                    <a:pt x="1256" y="65"/>
                    <a:pt x="1251" y="64"/>
                    <a:pt x="1254" y="63"/>
                  </a:cubicBezTo>
                  <a:cubicBezTo>
                    <a:pt x="1269" y="69"/>
                    <a:pt x="1280" y="82"/>
                    <a:pt x="1295" y="85"/>
                  </a:cubicBezTo>
                  <a:cubicBezTo>
                    <a:pt x="1294" y="85"/>
                    <a:pt x="1292" y="83"/>
                    <a:pt x="1294" y="83"/>
                  </a:cubicBezTo>
                  <a:cubicBezTo>
                    <a:pt x="1321" y="93"/>
                    <a:pt x="1341" y="109"/>
                    <a:pt x="1361" y="126"/>
                  </a:cubicBezTo>
                  <a:cubicBezTo>
                    <a:pt x="1363" y="128"/>
                    <a:pt x="1364" y="125"/>
                    <a:pt x="1366" y="127"/>
                  </a:cubicBezTo>
                  <a:cubicBezTo>
                    <a:pt x="1365" y="131"/>
                    <a:pt x="1368" y="130"/>
                    <a:pt x="1368" y="133"/>
                  </a:cubicBezTo>
                  <a:cubicBezTo>
                    <a:pt x="1365" y="131"/>
                    <a:pt x="1363" y="128"/>
                    <a:pt x="1359" y="127"/>
                  </a:cubicBezTo>
                  <a:cubicBezTo>
                    <a:pt x="1359" y="129"/>
                    <a:pt x="1359" y="131"/>
                    <a:pt x="1358" y="131"/>
                  </a:cubicBezTo>
                  <a:cubicBezTo>
                    <a:pt x="1355" y="128"/>
                    <a:pt x="1352" y="125"/>
                    <a:pt x="1348" y="122"/>
                  </a:cubicBezTo>
                  <a:cubicBezTo>
                    <a:pt x="1357" y="133"/>
                    <a:pt x="1366" y="147"/>
                    <a:pt x="1370" y="159"/>
                  </a:cubicBezTo>
                  <a:cubicBezTo>
                    <a:pt x="1370" y="158"/>
                    <a:pt x="1372" y="157"/>
                    <a:pt x="1373" y="157"/>
                  </a:cubicBezTo>
                  <a:cubicBezTo>
                    <a:pt x="1376" y="162"/>
                    <a:pt x="1381" y="165"/>
                    <a:pt x="1383" y="170"/>
                  </a:cubicBezTo>
                  <a:cubicBezTo>
                    <a:pt x="1383" y="175"/>
                    <a:pt x="1380" y="175"/>
                    <a:pt x="1383" y="179"/>
                  </a:cubicBezTo>
                  <a:cubicBezTo>
                    <a:pt x="1386" y="177"/>
                    <a:pt x="1390" y="179"/>
                    <a:pt x="1393" y="183"/>
                  </a:cubicBezTo>
                  <a:cubicBezTo>
                    <a:pt x="1386" y="167"/>
                    <a:pt x="1375" y="155"/>
                    <a:pt x="1367" y="141"/>
                  </a:cubicBezTo>
                  <a:cubicBezTo>
                    <a:pt x="1395" y="168"/>
                    <a:pt x="1421" y="203"/>
                    <a:pt x="1450" y="226"/>
                  </a:cubicBezTo>
                  <a:cubicBezTo>
                    <a:pt x="1454" y="228"/>
                    <a:pt x="1451" y="223"/>
                    <a:pt x="1453" y="223"/>
                  </a:cubicBezTo>
                  <a:cubicBezTo>
                    <a:pt x="1457" y="230"/>
                    <a:pt x="1464" y="234"/>
                    <a:pt x="1469" y="241"/>
                  </a:cubicBezTo>
                  <a:cubicBezTo>
                    <a:pt x="1476" y="250"/>
                    <a:pt x="1489" y="260"/>
                    <a:pt x="1492" y="268"/>
                  </a:cubicBezTo>
                  <a:cubicBezTo>
                    <a:pt x="1492" y="271"/>
                    <a:pt x="1493" y="277"/>
                    <a:pt x="1493" y="280"/>
                  </a:cubicBezTo>
                  <a:cubicBezTo>
                    <a:pt x="1495" y="288"/>
                    <a:pt x="1495" y="297"/>
                    <a:pt x="1499" y="303"/>
                  </a:cubicBezTo>
                  <a:cubicBezTo>
                    <a:pt x="1502" y="307"/>
                    <a:pt x="1509" y="308"/>
                    <a:pt x="1513" y="311"/>
                  </a:cubicBezTo>
                  <a:cubicBezTo>
                    <a:pt x="1515" y="313"/>
                    <a:pt x="1514" y="318"/>
                    <a:pt x="1518" y="316"/>
                  </a:cubicBezTo>
                  <a:cubicBezTo>
                    <a:pt x="1513" y="306"/>
                    <a:pt x="1511" y="297"/>
                    <a:pt x="1505" y="287"/>
                  </a:cubicBezTo>
                  <a:cubicBezTo>
                    <a:pt x="1508" y="285"/>
                    <a:pt x="1510" y="289"/>
                    <a:pt x="1511" y="287"/>
                  </a:cubicBezTo>
                  <a:cubicBezTo>
                    <a:pt x="1508" y="282"/>
                    <a:pt x="1502" y="276"/>
                    <a:pt x="1502" y="271"/>
                  </a:cubicBezTo>
                  <a:cubicBezTo>
                    <a:pt x="1509" y="270"/>
                    <a:pt x="1514" y="284"/>
                    <a:pt x="1519" y="285"/>
                  </a:cubicBezTo>
                  <a:cubicBezTo>
                    <a:pt x="1515" y="279"/>
                    <a:pt x="1511" y="273"/>
                    <a:pt x="1507" y="267"/>
                  </a:cubicBezTo>
                  <a:cubicBezTo>
                    <a:pt x="1517" y="278"/>
                    <a:pt x="1527" y="289"/>
                    <a:pt x="1536" y="301"/>
                  </a:cubicBezTo>
                  <a:cubicBezTo>
                    <a:pt x="1534" y="301"/>
                    <a:pt x="1533" y="299"/>
                    <a:pt x="1533" y="301"/>
                  </a:cubicBezTo>
                  <a:cubicBezTo>
                    <a:pt x="1534" y="303"/>
                    <a:pt x="1536" y="304"/>
                    <a:pt x="1537" y="308"/>
                  </a:cubicBezTo>
                  <a:cubicBezTo>
                    <a:pt x="1532" y="303"/>
                    <a:pt x="1529" y="298"/>
                    <a:pt x="1523" y="297"/>
                  </a:cubicBezTo>
                  <a:cubicBezTo>
                    <a:pt x="1532" y="309"/>
                    <a:pt x="1543" y="319"/>
                    <a:pt x="1550" y="333"/>
                  </a:cubicBezTo>
                  <a:cubicBezTo>
                    <a:pt x="1545" y="340"/>
                    <a:pt x="1555" y="346"/>
                    <a:pt x="1552" y="356"/>
                  </a:cubicBezTo>
                  <a:cubicBezTo>
                    <a:pt x="1553" y="358"/>
                    <a:pt x="1556" y="358"/>
                    <a:pt x="1558" y="359"/>
                  </a:cubicBezTo>
                  <a:cubicBezTo>
                    <a:pt x="1557" y="362"/>
                    <a:pt x="1554" y="361"/>
                    <a:pt x="1555" y="364"/>
                  </a:cubicBezTo>
                  <a:cubicBezTo>
                    <a:pt x="1557" y="367"/>
                    <a:pt x="1563" y="371"/>
                    <a:pt x="1562" y="374"/>
                  </a:cubicBezTo>
                  <a:cubicBezTo>
                    <a:pt x="1559" y="373"/>
                    <a:pt x="1558" y="369"/>
                    <a:pt x="1554" y="369"/>
                  </a:cubicBezTo>
                  <a:cubicBezTo>
                    <a:pt x="1555" y="375"/>
                    <a:pt x="1560" y="377"/>
                    <a:pt x="1561" y="383"/>
                  </a:cubicBezTo>
                  <a:cubicBezTo>
                    <a:pt x="1586" y="415"/>
                    <a:pt x="1596" y="460"/>
                    <a:pt x="1625" y="487"/>
                  </a:cubicBezTo>
                  <a:cubicBezTo>
                    <a:pt x="1625" y="486"/>
                    <a:pt x="1625" y="484"/>
                    <a:pt x="1626" y="484"/>
                  </a:cubicBezTo>
                  <a:cubicBezTo>
                    <a:pt x="1632" y="501"/>
                    <a:pt x="1644" y="510"/>
                    <a:pt x="1648" y="528"/>
                  </a:cubicBezTo>
                  <a:cubicBezTo>
                    <a:pt x="1651" y="524"/>
                    <a:pt x="1644" y="518"/>
                    <a:pt x="1647" y="514"/>
                  </a:cubicBezTo>
                  <a:cubicBezTo>
                    <a:pt x="1656" y="534"/>
                    <a:pt x="1671" y="555"/>
                    <a:pt x="1668" y="580"/>
                  </a:cubicBezTo>
                  <a:cubicBezTo>
                    <a:pt x="1668" y="585"/>
                    <a:pt x="1664" y="588"/>
                    <a:pt x="1663" y="592"/>
                  </a:cubicBezTo>
                  <a:cubicBezTo>
                    <a:pt x="1663" y="595"/>
                    <a:pt x="1665" y="598"/>
                    <a:pt x="1665" y="600"/>
                  </a:cubicBezTo>
                  <a:cubicBezTo>
                    <a:pt x="1668" y="621"/>
                    <a:pt x="1667" y="635"/>
                    <a:pt x="1672" y="650"/>
                  </a:cubicBezTo>
                  <a:cubicBezTo>
                    <a:pt x="1674" y="657"/>
                    <a:pt x="1679" y="663"/>
                    <a:pt x="1682" y="671"/>
                  </a:cubicBezTo>
                  <a:cubicBezTo>
                    <a:pt x="1684" y="682"/>
                    <a:pt x="1682" y="693"/>
                    <a:pt x="1689" y="701"/>
                  </a:cubicBezTo>
                  <a:cubicBezTo>
                    <a:pt x="1689" y="678"/>
                    <a:pt x="1689" y="678"/>
                    <a:pt x="1689" y="678"/>
                  </a:cubicBezTo>
                  <a:cubicBezTo>
                    <a:pt x="1695" y="680"/>
                    <a:pt x="1688" y="666"/>
                    <a:pt x="1693" y="663"/>
                  </a:cubicBezTo>
                  <a:cubicBezTo>
                    <a:pt x="1698" y="672"/>
                    <a:pt x="1697" y="688"/>
                    <a:pt x="1701" y="699"/>
                  </a:cubicBezTo>
                  <a:cubicBezTo>
                    <a:pt x="1696" y="644"/>
                    <a:pt x="1684" y="595"/>
                    <a:pt x="1668" y="548"/>
                  </a:cubicBezTo>
                  <a:cubicBezTo>
                    <a:pt x="1631" y="438"/>
                    <a:pt x="1580" y="350"/>
                    <a:pt x="1516" y="270"/>
                  </a:cubicBezTo>
                  <a:cubicBezTo>
                    <a:pt x="1452" y="190"/>
                    <a:pt x="1375" y="128"/>
                    <a:pt x="1285" y="73"/>
                  </a:cubicBezTo>
                  <a:cubicBezTo>
                    <a:pt x="1257" y="57"/>
                    <a:pt x="1214" y="32"/>
                    <a:pt x="1183" y="25"/>
                  </a:cubicBezTo>
                  <a:cubicBezTo>
                    <a:pt x="1172" y="14"/>
                    <a:pt x="1152" y="22"/>
                    <a:pt x="1135" y="23"/>
                  </a:cubicBezTo>
                  <a:cubicBezTo>
                    <a:pt x="1140" y="27"/>
                    <a:pt x="1147" y="29"/>
                    <a:pt x="1150" y="34"/>
                  </a:cubicBezTo>
                  <a:cubicBezTo>
                    <a:pt x="1155" y="30"/>
                    <a:pt x="1165" y="32"/>
                    <a:pt x="1168" y="29"/>
                  </a:cubicBezTo>
                  <a:cubicBezTo>
                    <a:pt x="1169" y="36"/>
                    <a:pt x="1178" y="35"/>
                    <a:pt x="1182" y="38"/>
                  </a:cubicBezTo>
                  <a:cubicBezTo>
                    <a:pt x="1178" y="38"/>
                    <a:pt x="1181" y="41"/>
                    <a:pt x="1178" y="44"/>
                  </a:cubicBezTo>
                  <a:cubicBezTo>
                    <a:pt x="1195" y="45"/>
                    <a:pt x="1207" y="59"/>
                    <a:pt x="1222" y="63"/>
                  </a:cubicBezTo>
                  <a:cubicBezTo>
                    <a:pt x="1223" y="63"/>
                    <a:pt x="1226" y="62"/>
                    <a:pt x="1227" y="62"/>
                  </a:cubicBezTo>
                  <a:cubicBezTo>
                    <a:pt x="1230" y="62"/>
                    <a:pt x="1233" y="65"/>
                    <a:pt x="1237" y="67"/>
                  </a:cubicBezTo>
                  <a:cubicBezTo>
                    <a:pt x="1237" y="67"/>
                    <a:pt x="1237" y="64"/>
                    <a:pt x="1238" y="65"/>
                  </a:cubicBezTo>
                  <a:cubicBezTo>
                    <a:pt x="1246" y="68"/>
                    <a:pt x="1253" y="73"/>
                    <a:pt x="1259" y="80"/>
                  </a:cubicBezTo>
                  <a:cubicBezTo>
                    <a:pt x="1257" y="81"/>
                    <a:pt x="1255" y="77"/>
                    <a:pt x="1254" y="80"/>
                  </a:cubicBezTo>
                  <a:cubicBezTo>
                    <a:pt x="1259" y="82"/>
                    <a:pt x="1257" y="86"/>
                    <a:pt x="1258" y="89"/>
                  </a:cubicBezTo>
                  <a:cubicBezTo>
                    <a:pt x="1264" y="90"/>
                    <a:pt x="1267" y="93"/>
                    <a:pt x="1268" y="99"/>
                  </a:cubicBezTo>
                  <a:cubicBezTo>
                    <a:pt x="1272" y="101"/>
                    <a:pt x="1276" y="102"/>
                    <a:pt x="1278" y="104"/>
                  </a:cubicBezTo>
                  <a:cubicBezTo>
                    <a:pt x="1278" y="107"/>
                    <a:pt x="1279" y="108"/>
                    <a:pt x="1279" y="110"/>
                  </a:cubicBezTo>
                  <a:close/>
                  <a:moveTo>
                    <a:pt x="1357" y="178"/>
                  </a:moveTo>
                  <a:cubicBezTo>
                    <a:pt x="1361" y="180"/>
                    <a:pt x="1366" y="187"/>
                    <a:pt x="1370" y="186"/>
                  </a:cubicBezTo>
                  <a:cubicBezTo>
                    <a:pt x="1366" y="183"/>
                    <a:pt x="1362" y="176"/>
                    <a:pt x="1357" y="178"/>
                  </a:cubicBezTo>
                  <a:close/>
                  <a:moveTo>
                    <a:pt x="1406" y="207"/>
                  </a:moveTo>
                  <a:cubicBezTo>
                    <a:pt x="1400" y="202"/>
                    <a:pt x="1401" y="190"/>
                    <a:pt x="1393" y="188"/>
                  </a:cubicBezTo>
                  <a:cubicBezTo>
                    <a:pt x="1392" y="190"/>
                    <a:pt x="1392" y="193"/>
                    <a:pt x="1391" y="194"/>
                  </a:cubicBezTo>
                  <a:cubicBezTo>
                    <a:pt x="1382" y="196"/>
                    <a:pt x="1379" y="193"/>
                    <a:pt x="1373" y="189"/>
                  </a:cubicBezTo>
                  <a:cubicBezTo>
                    <a:pt x="1375" y="193"/>
                    <a:pt x="1380" y="193"/>
                    <a:pt x="1382" y="195"/>
                  </a:cubicBezTo>
                  <a:cubicBezTo>
                    <a:pt x="1383" y="198"/>
                    <a:pt x="1381" y="198"/>
                    <a:pt x="1381" y="200"/>
                  </a:cubicBezTo>
                  <a:cubicBezTo>
                    <a:pt x="1389" y="204"/>
                    <a:pt x="1394" y="209"/>
                    <a:pt x="1400" y="215"/>
                  </a:cubicBezTo>
                  <a:cubicBezTo>
                    <a:pt x="1404" y="211"/>
                    <a:pt x="1409" y="213"/>
                    <a:pt x="1413" y="215"/>
                  </a:cubicBezTo>
                  <a:cubicBezTo>
                    <a:pt x="1413" y="217"/>
                    <a:pt x="1411" y="217"/>
                    <a:pt x="1410" y="216"/>
                  </a:cubicBezTo>
                  <a:cubicBezTo>
                    <a:pt x="1411" y="221"/>
                    <a:pt x="1415" y="222"/>
                    <a:pt x="1419" y="224"/>
                  </a:cubicBezTo>
                  <a:cubicBezTo>
                    <a:pt x="1416" y="217"/>
                    <a:pt x="1415" y="208"/>
                    <a:pt x="1406" y="207"/>
                  </a:cubicBezTo>
                  <a:close/>
                  <a:moveTo>
                    <a:pt x="1504" y="338"/>
                  </a:moveTo>
                  <a:cubicBezTo>
                    <a:pt x="1504" y="338"/>
                    <a:pt x="1503" y="338"/>
                    <a:pt x="1503" y="337"/>
                  </a:cubicBezTo>
                  <a:cubicBezTo>
                    <a:pt x="1503" y="338"/>
                    <a:pt x="1503" y="339"/>
                    <a:pt x="1504" y="338"/>
                  </a:cubicBezTo>
                  <a:close/>
                  <a:moveTo>
                    <a:pt x="1506" y="326"/>
                  </a:moveTo>
                  <a:cubicBezTo>
                    <a:pt x="1504" y="318"/>
                    <a:pt x="1500" y="311"/>
                    <a:pt x="1492" y="313"/>
                  </a:cubicBezTo>
                  <a:cubicBezTo>
                    <a:pt x="1493" y="323"/>
                    <a:pt x="1498" y="333"/>
                    <a:pt x="1503" y="337"/>
                  </a:cubicBezTo>
                  <a:cubicBezTo>
                    <a:pt x="1503" y="336"/>
                    <a:pt x="1503" y="334"/>
                    <a:pt x="1504" y="335"/>
                  </a:cubicBezTo>
                  <a:cubicBezTo>
                    <a:pt x="1506" y="336"/>
                    <a:pt x="1505" y="340"/>
                    <a:pt x="1509" y="340"/>
                  </a:cubicBezTo>
                  <a:cubicBezTo>
                    <a:pt x="1508" y="331"/>
                    <a:pt x="1504" y="330"/>
                    <a:pt x="1502" y="323"/>
                  </a:cubicBezTo>
                  <a:cubicBezTo>
                    <a:pt x="1504" y="323"/>
                    <a:pt x="1504" y="326"/>
                    <a:pt x="1506" y="326"/>
                  </a:cubicBezTo>
                  <a:close/>
                  <a:moveTo>
                    <a:pt x="1696" y="874"/>
                  </a:moveTo>
                  <a:cubicBezTo>
                    <a:pt x="1696" y="872"/>
                    <a:pt x="1697" y="872"/>
                    <a:pt x="1698" y="873"/>
                  </a:cubicBezTo>
                  <a:cubicBezTo>
                    <a:pt x="1698" y="869"/>
                    <a:pt x="1702" y="864"/>
                    <a:pt x="1699" y="861"/>
                  </a:cubicBezTo>
                  <a:cubicBezTo>
                    <a:pt x="1699" y="866"/>
                    <a:pt x="1695" y="872"/>
                    <a:pt x="1696" y="874"/>
                  </a:cubicBezTo>
                  <a:close/>
                  <a:moveTo>
                    <a:pt x="824" y="1523"/>
                  </a:moveTo>
                  <a:cubicBezTo>
                    <a:pt x="826" y="1525"/>
                    <a:pt x="831" y="1524"/>
                    <a:pt x="833" y="1523"/>
                  </a:cubicBezTo>
                  <a:cubicBezTo>
                    <a:pt x="833" y="1525"/>
                    <a:pt x="833" y="1526"/>
                    <a:pt x="834" y="1527"/>
                  </a:cubicBezTo>
                  <a:cubicBezTo>
                    <a:pt x="832" y="1527"/>
                    <a:pt x="830" y="1528"/>
                    <a:pt x="829" y="1530"/>
                  </a:cubicBezTo>
                  <a:cubicBezTo>
                    <a:pt x="836" y="1537"/>
                    <a:pt x="841" y="1523"/>
                    <a:pt x="845" y="1528"/>
                  </a:cubicBezTo>
                  <a:cubicBezTo>
                    <a:pt x="847" y="1522"/>
                    <a:pt x="852" y="1519"/>
                    <a:pt x="855" y="1515"/>
                  </a:cubicBezTo>
                  <a:cubicBezTo>
                    <a:pt x="846" y="1516"/>
                    <a:pt x="829" y="1515"/>
                    <a:pt x="824" y="1523"/>
                  </a:cubicBezTo>
                  <a:close/>
                </a:path>
              </a:pathLst>
            </a:custGeom>
            <a:gradFill rotWithShape="1">
              <a:gsLst>
                <a:gs pos="0">
                  <a:srgbClr val="D4D4D4"/>
                </a:gs>
                <a:gs pos="100000">
                  <a:srgbClr val="B2B2B2"/>
                </a:gs>
              </a:gsLst>
              <a:lin ang="2700000" scaled="1"/>
            </a:gradFill>
            <a:ln w="9525">
              <a:solidFill>
                <a:srgbClr val="FFFFFF"/>
              </a:solidFill>
              <a:round/>
              <a:headEnd/>
              <a:tailEnd/>
            </a:ln>
          </p:spPr>
          <p:txBody>
            <a:bodyPr/>
            <a:lstStyle/>
            <a:p>
              <a:pPr algn="l" fontAlgn="auto">
                <a:spcBef>
                  <a:spcPts val="0"/>
                </a:spcBef>
                <a:spcAft>
                  <a:spcPts val="0"/>
                </a:spcAft>
              </a:pPr>
              <a:endParaRPr lang="es-PE" sz="1800">
                <a:solidFill>
                  <a:srgbClr val="000000"/>
                </a:solidFill>
                <a:latin typeface="Arial" pitchFamily="34" charset="0"/>
                <a:cs typeface="Arial" pitchFamily="34" charset="0"/>
              </a:endParaRPr>
            </a:p>
          </p:txBody>
        </p:sp>
        <p:sp>
          <p:nvSpPr>
            <p:cNvPr id="44" name="Freeform 22"/>
            <p:cNvSpPr>
              <a:spLocks noEditPoints="1"/>
            </p:cNvSpPr>
            <p:nvPr/>
          </p:nvSpPr>
          <p:spPr bwMode="gray">
            <a:xfrm>
              <a:off x="3857" y="-114"/>
              <a:ext cx="1267" cy="1216"/>
            </a:xfrm>
            <a:custGeom>
              <a:avLst/>
              <a:gdLst>
                <a:gd name="T0" fmla="*/ 494 w 1683"/>
                <a:gd name="T1" fmla="*/ 13 h 1609"/>
                <a:gd name="T2" fmla="*/ 263 w 1683"/>
                <a:gd name="T3" fmla="*/ 51 h 1609"/>
                <a:gd name="T4" fmla="*/ 280 w 1683"/>
                <a:gd name="T5" fmla="*/ 77 h 1609"/>
                <a:gd name="T6" fmla="*/ 102 w 1683"/>
                <a:gd name="T7" fmla="*/ 111 h 1609"/>
                <a:gd name="T8" fmla="*/ 229 w 1683"/>
                <a:gd name="T9" fmla="*/ 110 h 1609"/>
                <a:gd name="T10" fmla="*/ 283 w 1683"/>
                <a:gd name="T11" fmla="*/ 196 h 1609"/>
                <a:gd name="T12" fmla="*/ 384 w 1683"/>
                <a:gd name="T13" fmla="*/ 205 h 1609"/>
                <a:gd name="T14" fmla="*/ 393 w 1683"/>
                <a:gd name="T15" fmla="*/ 221 h 1609"/>
                <a:gd name="T16" fmla="*/ 388 w 1683"/>
                <a:gd name="T17" fmla="*/ 227 h 1609"/>
                <a:gd name="T18" fmla="*/ 382 w 1683"/>
                <a:gd name="T19" fmla="*/ 231 h 1609"/>
                <a:gd name="T20" fmla="*/ 443 w 1683"/>
                <a:gd name="T21" fmla="*/ 241 h 1609"/>
                <a:gd name="T22" fmla="*/ 563 w 1683"/>
                <a:gd name="T23" fmla="*/ 579 h 1609"/>
                <a:gd name="T24" fmla="*/ 563 w 1683"/>
                <a:gd name="T25" fmla="*/ 595 h 1609"/>
                <a:gd name="T26" fmla="*/ 246 w 1683"/>
                <a:gd name="T27" fmla="*/ 13 h 1609"/>
                <a:gd name="T28" fmla="*/ 200 w 1683"/>
                <a:gd name="T29" fmla="*/ 53 h 1609"/>
                <a:gd name="T30" fmla="*/ 288 w 1683"/>
                <a:gd name="T31" fmla="*/ 23 h 1609"/>
                <a:gd name="T32" fmla="*/ 263 w 1683"/>
                <a:gd name="T33" fmla="*/ 2 h 1609"/>
                <a:gd name="T34" fmla="*/ 254 w 1683"/>
                <a:gd name="T35" fmla="*/ 2 h 1609"/>
                <a:gd name="T36" fmla="*/ 219 w 1683"/>
                <a:gd name="T37" fmla="*/ 20 h 1609"/>
                <a:gd name="T38" fmla="*/ 180 w 1683"/>
                <a:gd name="T39" fmla="*/ 32 h 1609"/>
                <a:gd name="T40" fmla="*/ 196 w 1683"/>
                <a:gd name="T41" fmla="*/ 29 h 1609"/>
                <a:gd name="T42" fmla="*/ 717 w 1683"/>
                <a:gd name="T43" fmla="*/ 277 h 1609"/>
                <a:gd name="T44" fmla="*/ 460 w 1683"/>
                <a:gd name="T45" fmla="*/ 15 h 1609"/>
                <a:gd name="T46" fmla="*/ 469 w 1683"/>
                <a:gd name="T47" fmla="*/ 48 h 1609"/>
                <a:gd name="T48" fmla="*/ 418 w 1683"/>
                <a:gd name="T49" fmla="*/ 51 h 1609"/>
                <a:gd name="T50" fmla="*/ 405 w 1683"/>
                <a:gd name="T51" fmla="*/ 53 h 1609"/>
                <a:gd name="T52" fmla="*/ 349 w 1683"/>
                <a:gd name="T53" fmla="*/ 42 h 1609"/>
                <a:gd name="T54" fmla="*/ 297 w 1683"/>
                <a:gd name="T55" fmla="*/ 86 h 1609"/>
                <a:gd name="T56" fmla="*/ 353 w 1683"/>
                <a:gd name="T57" fmla="*/ 79 h 1609"/>
                <a:gd name="T58" fmla="*/ 313 w 1683"/>
                <a:gd name="T59" fmla="*/ 98 h 1609"/>
                <a:gd name="T60" fmla="*/ 271 w 1683"/>
                <a:gd name="T61" fmla="*/ 118 h 1609"/>
                <a:gd name="T62" fmla="*/ 253 w 1683"/>
                <a:gd name="T63" fmla="*/ 101 h 1609"/>
                <a:gd name="T64" fmla="*/ 265 w 1683"/>
                <a:gd name="T65" fmla="*/ 128 h 1609"/>
                <a:gd name="T66" fmla="*/ 188 w 1683"/>
                <a:gd name="T67" fmla="*/ 190 h 1609"/>
                <a:gd name="T68" fmla="*/ 265 w 1683"/>
                <a:gd name="T69" fmla="*/ 178 h 1609"/>
                <a:gd name="T70" fmla="*/ 303 w 1683"/>
                <a:gd name="T71" fmla="*/ 221 h 1609"/>
                <a:gd name="T72" fmla="*/ 315 w 1683"/>
                <a:gd name="T73" fmla="*/ 165 h 1609"/>
                <a:gd name="T74" fmla="*/ 371 w 1683"/>
                <a:gd name="T75" fmla="*/ 231 h 1609"/>
                <a:gd name="T76" fmla="*/ 388 w 1683"/>
                <a:gd name="T77" fmla="*/ 203 h 1609"/>
                <a:gd name="T78" fmla="*/ 452 w 1683"/>
                <a:gd name="T79" fmla="*/ 266 h 1609"/>
                <a:gd name="T80" fmla="*/ 356 w 1683"/>
                <a:gd name="T81" fmla="*/ 261 h 1609"/>
                <a:gd name="T82" fmla="*/ 289 w 1683"/>
                <a:gd name="T83" fmla="*/ 233 h 1609"/>
                <a:gd name="T84" fmla="*/ 157 w 1683"/>
                <a:gd name="T85" fmla="*/ 254 h 1609"/>
                <a:gd name="T86" fmla="*/ 92 w 1683"/>
                <a:gd name="T87" fmla="*/ 360 h 1609"/>
                <a:gd name="T88" fmla="*/ 136 w 1683"/>
                <a:gd name="T89" fmla="*/ 459 h 1609"/>
                <a:gd name="T90" fmla="*/ 253 w 1683"/>
                <a:gd name="T91" fmla="*/ 481 h 1609"/>
                <a:gd name="T92" fmla="*/ 291 w 1683"/>
                <a:gd name="T93" fmla="*/ 558 h 1609"/>
                <a:gd name="T94" fmla="*/ 313 w 1683"/>
                <a:gd name="T95" fmla="*/ 649 h 1609"/>
                <a:gd name="T96" fmla="*/ 434 w 1683"/>
                <a:gd name="T97" fmla="*/ 672 h 1609"/>
                <a:gd name="T98" fmla="*/ 510 w 1683"/>
                <a:gd name="T99" fmla="*/ 593 h 1609"/>
                <a:gd name="T100" fmla="*/ 542 w 1683"/>
                <a:gd name="T101" fmla="*/ 498 h 1609"/>
                <a:gd name="T102" fmla="*/ 559 w 1683"/>
                <a:gd name="T103" fmla="*/ 417 h 1609"/>
                <a:gd name="T104" fmla="*/ 484 w 1683"/>
                <a:gd name="T105" fmla="*/ 344 h 1609"/>
                <a:gd name="T106" fmla="*/ 510 w 1683"/>
                <a:gd name="T107" fmla="*/ 350 h 1609"/>
                <a:gd name="T108" fmla="*/ 617 w 1683"/>
                <a:gd name="T109" fmla="*/ 340 h 1609"/>
                <a:gd name="T110" fmla="*/ 544 w 1683"/>
                <a:gd name="T111" fmla="*/ 274 h 1609"/>
                <a:gd name="T112" fmla="*/ 653 w 1683"/>
                <a:gd name="T113" fmla="*/ 282 h 1609"/>
                <a:gd name="T114" fmla="*/ 708 w 1683"/>
                <a:gd name="T115" fmla="*/ 372 h 1609"/>
                <a:gd name="T116" fmla="*/ 443 w 1683"/>
                <a:gd name="T117" fmla="*/ 190 h 1609"/>
                <a:gd name="T118" fmla="*/ 423 w 1683"/>
                <a:gd name="T119" fmla="*/ 168 h 1609"/>
                <a:gd name="T120" fmla="*/ 469 w 1683"/>
                <a:gd name="T121" fmla="*/ 181 h 1609"/>
                <a:gd name="T122" fmla="*/ 123 w 1683"/>
                <a:gd name="T123" fmla="*/ 89 h 1609"/>
                <a:gd name="T124" fmla="*/ 22 w 1683"/>
                <a:gd name="T125" fmla="*/ 459 h 16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83"/>
                <a:gd name="T190" fmla="*/ 0 h 1609"/>
                <a:gd name="T191" fmla="*/ 1683 w 1683"/>
                <a:gd name="T192" fmla="*/ 1609 h 16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83" h="1609">
                  <a:moveTo>
                    <a:pt x="1008" y="20"/>
                  </a:moveTo>
                  <a:cubicBezTo>
                    <a:pt x="1021" y="27"/>
                    <a:pt x="1028" y="27"/>
                    <a:pt x="1045" y="29"/>
                  </a:cubicBezTo>
                  <a:cubicBezTo>
                    <a:pt x="1035" y="22"/>
                    <a:pt x="1023" y="21"/>
                    <a:pt x="1008" y="20"/>
                  </a:cubicBezTo>
                  <a:close/>
                  <a:moveTo>
                    <a:pt x="1146" y="26"/>
                  </a:moveTo>
                  <a:cubicBezTo>
                    <a:pt x="1143" y="26"/>
                    <a:pt x="1143" y="22"/>
                    <a:pt x="1141" y="21"/>
                  </a:cubicBezTo>
                  <a:cubicBezTo>
                    <a:pt x="1142" y="21"/>
                    <a:pt x="1146" y="24"/>
                    <a:pt x="1147" y="21"/>
                  </a:cubicBezTo>
                  <a:cubicBezTo>
                    <a:pt x="1138" y="19"/>
                    <a:pt x="1136" y="20"/>
                    <a:pt x="1128" y="22"/>
                  </a:cubicBezTo>
                  <a:cubicBezTo>
                    <a:pt x="1134" y="24"/>
                    <a:pt x="1139" y="27"/>
                    <a:pt x="1146" y="26"/>
                  </a:cubicBezTo>
                  <a:close/>
                  <a:moveTo>
                    <a:pt x="1063" y="27"/>
                  </a:moveTo>
                  <a:cubicBezTo>
                    <a:pt x="1057" y="27"/>
                    <a:pt x="1049" y="23"/>
                    <a:pt x="1045" y="25"/>
                  </a:cubicBezTo>
                  <a:cubicBezTo>
                    <a:pt x="1050" y="26"/>
                    <a:pt x="1053" y="31"/>
                    <a:pt x="1059" y="32"/>
                  </a:cubicBezTo>
                  <a:cubicBezTo>
                    <a:pt x="1060" y="30"/>
                    <a:pt x="1063" y="30"/>
                    <a:pt x="1063" y="27"/>
                  </a:cubicBezTo>
                  <a:close/>
                  <a:moveTo>
                    <a:pt x="1157" y="29"/>
                  </a:moveTo>
                  <a:cubicBezTo>
                    <a:pt x="1159" y="30"/>
                    <a:pt x="1161" y="30"/>
                    <a:pt x="1163" y="31"/>
                  </a:cubicBezTo>
                  <a:cubicBezTo>
                    <a:pt x="1163" y="28"/>
                    <a:pt x="1158" y="27"/>
                    <a:pt x="1157" y="29"/>
                  </a:cubicBezTo>
                  <a:close/>
                  <a:moveTo>
                    <a:pt x="966" y="79"/>
                  </a:moveTo>
                  <a:cubicBezTo>
                    <a:pt x="979" y="79"/>
                    <a:pt x="987" y="91"/>
                    <a:pt x="1000" y="85"/>
                  </a:cubicBezTo>
                  <a:cubicBezTo>
                    <a:pt x="983" y="83"/>
                    <a:pt x="971" y="65"/>
                    <a:pt x="984" y="55"/>
                  </a:cubicBezTo>
                  <a:cubicBezTo>
                    <a:pt x="988" y="52"/>
                    <a:pt x="993" y="54"/>
                    <a:pt x="996" y="49"/>
                  </a:cubicBezTo>
                  <a:cubicBezTo>
                    <a:pt x="992" y="41"/>
                    <a:pt x="983" y="46"/>
                    <a:pt x="978" y="50"/>
                  </a:cubicBezTo>
                  <a:cubicBezTo>
                    <a:pt x="970" y="49"/>
                    <a:pt x="966" y="53"/>
                    <a:pt x="962" y="58"/>
                  </a:cubicBezTo>
                  <a:cubicBezTo>
                    <a:pt x="969" y="61"/>
                    <a:pt x="963" y="73"/>
                    <a:pt x="966" y="79"/>
                  </a:cubicBezTo>
                  <a:close/>
                  <a:moveTo>
                    <a:pt x="1026" y="63"/>
                  </a:moveTo>
                  <a:cubicBezTo>
                    <a:pt x="1029" y="64"/>
                    <a:pt x="1031" y="68"/>
                    <a:pt x="1033" y="64"/>
                  </a:cubicBezTo>
                  <a:cubicBezTo>
                    <a:pt x="1032" y="63"/>
                    <a:pt x="1028" y="61"/>
                    <a:pt x="1026" y="63"/>
                  </a:cubicBezTo>
                  <a:close/>
                  <a:moveTo>
                    <a:pt x="1025" y="92"/>
                  </a:moveTo>
                  <a:cubicBezTo>
                    <a:pt x="1021" y="90"/>
                    <a:pt x="1015" y="86"/>
                    <a:pt x="1011" y="88"/>
                  </a:cubicBezTo>
                  <a:cubicBezTo>
                    <a:pt x="1014" y="90"/>
                    <a:pt x="1020" y="94"/>
                    <a:pt x="1025" y="92"/>
                  </a:cubicBezTo>
                  <a:close/>
                  <a:moveTo>
                    <a:pt x="618" y="123"/>
                  </a:moveTo>
                  <a:cubicBezTo>
                    <a:pt x="612" y="123"/>
                    <a:pt x="617" y="119"/>
                    <a:pt x="617" y="117"/>
                  </a:cubicBezTo>
                  <a:cubicBezTo>
                    <a:pt x="614" y="117"/>
                    <a:pt x="614" y="116"/>
                    <a:pt x="614" y="114"/>
                  </a:cubicBezTo>
                  <a:cubicBezTo>
                    <a:pt x="605" y="120"/>
                    <a:pt x="599" y="113"/>
                    <a:pt x="590" y="118"/>
                  </a:cubicBezTo>
                  <a:cubicBezTo>
                    <a:pt x="590" y="117"/>
                    <a:pt x="590" y="115"/>
                    <a:pt x="589" y="115"/>
                  </a:cubicBezTo>
                  <a:cubicBezTo>
                    <a:pt x="588" y="118"/>
                    <a:pt x="582" y="120"/>
                    <a:pt x="580" y="119"/>
                  </a:cubicBezTo>
                  <a:cubicBezTo>
                    <a:pt x="582" y="117"/>
                    <a:pt x="585" y="116"/>
                    <a:pt x="584" y="111"/>
                  </a:cubicBezTo>
                  <a:cubicBezTo>
                    <a:pt x="577" y="113"/>
                    <a:pt x="569" y="115"/>
                    <a:pt x="565" y="119"/>
                  </a:cubicBezTo>
                  <a:cubicBezTo>
                    <a:pt x="568" y="121"/>
                    <a:pt x="572" y="116"/>
                    <a:pt x="574" y="119"/>
                  </a:cubicBezTo>
                  <a:cubicBezTo>
                    <a:pt x="573" y="125"/>
                    <a:pt x="562" y="121"/>
                    <a:pt x="559" y="125"/>
                  </a:cubicBezTo>
                  <a:cubicBezTo>
                    <a:pt x="563" y="124"/>
                    <a:pt x="564" y="126"/>
                    <a:pt x="566" y="129"/>
                  </a:cubicBezTo>
                  <a:cubicBezTo>
                    <a:pt x="563" y="133"/>
                    <a:pt x="556" y="128"/>
                    <a:pt x="555" y="134"/>
                  </a:cubicBezTo>
                  <a:cubicBezTo>
                    <a:pt x="559" y="135"/>
                    <a:pt x="561" y="134"/>
                    <a:pt x="564" y="133"/>
                  </a:cubicBezTo>
                  <a:cubicBezTo>
                    <a:pt x="564" y="137"/>
                    <a:pt x="567" y="137"/>
                    <a:pt x="568" y="140"/>
                  </a:cubicBezTo>
                  <a:cubicBezTo>
                    <a:pt x="584" y="136"/>
                    <a:pt x="608" y="137"/>
                    <a:pt x="618" y="123"/>
                  </a:cubicBezTo>
                  <a:close/>
                  <a:moveTo>
                    <a:pt x="651" y="184"/>
                  </a:moveTo>
                  <a:cubicBezTo>
                    <a:pt x="654" y="184"/>
                    <a:pt x="656" y="182"/>
                    <a:pt x="656" y="178"/>
                  </a:cubicBezTo>
                  <a:cubicBezTo>
                    <a:pt x="653" y="178"/>
                    <a:pt x="651" y="180"/>
                    <a:pt x="651" y="184"/>
                  </a:cubicBezTo>
                  <a:close/>
                  <a:moveTo>
                    <a:pt x="635" y="196"/>
                  </a:moveTo>
                  <a:cubicBezTo>
                    <a:pt x="634" y="194"/>
                    <a:pt x="634" y="192"/>
                    <a:pt x="633" y="191"/>
                  </a:cubicBezTo>
                  <a:cubicBezTo>
                    <a:pt x="631" y="192"/>
                    <a:pt x="631" y="196"/>
                    <a:pt x="635" y="196"/>
                  </a:cubicBezTo>
                  <a:close/>
                  <a:moveTo>
                    <a:pt x="604" y="197"/>
                  </a:moveTo>
                  <a:cubicBezTo>
                    <a:pt x="601" y="200"/>
                    <a:pt x="595" y="199"/>
                    <a:pt x="595" y="204"/>
                  </a:cubicBezTo>
                  <a:cubicBezTo>
                    <a:pt x="601" y="205"/>
                    <a:pt x="606" y="201"/>
                    <a:pt x="604" y="197"/>
                  </a:cubicBezTo>
                  <a:close/>
                  <a:moveTo>
                    <a:pt x="595" y="213"/>
                  </a:moveTo>
                  <a:cubicBezTo>
                    <a:pt x="599" y="213"/>
                    <a:pt x="599" y="210"/>
                    <a:pt x="599" y="207"/>
                  </a:cubicBezTo>
                  <a:cubicBezTo>
                    <a:pt x="595" y="207"/>
                    <a:pt x="593" y="211"/>
                    <a:pt x="595" y="213"/>
                  </a:cubicBezTo>
                  <a:close/>
                  <a:moveTo>
                    <a:pt x="280" y="210"/>
                  </a:moveTo>
                  <a:cubicBezTo>
                    <a:pt x="262" y="220"/>
                    <a:pt x="248" y="231"/>
                    <a:pt x="232" y="242"/>
                  </a:cubicBezTo>
                  <a:cubicBezTo>
                    <a:pt x="234" y="251"/>
                    <a:pt x="231" y="253"/>
                    <a:pt x="227" y="259"/>
                  </a:cubicBezTo>
                  <a:cubicBezTo>
                    <a:pt x="232" y="260"/>
                    <a:pt x="226" y="264"/>
                    <a:pt x="227" y="266"/>
                  </a:cubicBezTo>
                  <a:cubicBezTo>
                    <a:pt x="232" y="265"/>
                    <a:pt x="235" y="261"/>
                    <a:pt x="239" y="258"/>
                  </a:cubicBezTo>
                  <a:cubicBezTo>
                    <a:pt x="241" y="246"/>
                    <a:pt x="254" y="245"/>
                    <a:pt x="258" y="235"/>
                  </a:cubicBezTo>
                  <a:cubicBezTo>
                    <a:pt x="257" y="234"/>
                    <a:pt x="255" y="238"/>
                    <a:pt x="255" y="235"/>
                  </a:cubicBezTo>
                  <a:cubicBezTo>
                    <a:pt x="261" y="225"/>
                    <a:pt x="272" y="219"/>
                    <a:pt x="280" y="210"/>
                  </a:cubicBezTo>
                  <a:close/>
                  <a:moveTo>
                    <a:pt x="252" y="214"/>
                  </a:moveTo>
                  <a:cubicBezTo>
                    <a:pt x="250" y="216"/>
                    <a:pt x="245" y="220"/>
                    <a:pt x="248" y="224"/>
                  </a:cubicBezTo>
                  <a:cubicBezTo>
                    <a:pt x="250" y="221"/>
                    <a:pt x="254" y="217"/>
                    <a:pt x="252" y="214"/>
                  </a:cubicBezTo>
                  <a:close/>
                  <a:moveTo>
                    <a:pt x="520" y="272"/>
                  </a:moveTo>
                  <a:cubicBezTo>
                    <a:pt x="521" y="276"/>
                    <a:pt x="521" y="277"/>
                    <a:pt x="522" y="280"/>
                  </a:cubicBezTo>
                  <a:cubicBezTo>
                    <a:pt x="540" y="274"/>
                    <a:pt x="569" y="277"/>
                    <a:pt x="570" y="252"/>
                  </a:cubicBezTo>
                  <a:cubicBezTo>
                    <a:pt x="576" y="249"/>
                    <a:pt x="586" y="246"/>
                    <a:pt x="582" y="235"/>
                  </a:cubicBezTo>
                  <a:cubicBezTo>
                    <a:pt x="572" y="230"/>
                    <a:pt x="564" y="233"/>
                    <a:pt x="556" y="239"/>
                  </a:cubicBezTo>
                  <a:cubicBezTo>
                    <a:pt x="556" y="241"/>
                    <a:pt x="557" y="241"/>
                    <a:pt x="557" y="243"/>
                  </a:cubicBezTo>
                  <a:cubicBezTo>
                    <a:pt x="554" y="243"/>
                    <a:pt x="554" y="245"/>
                    <a:pt x="551" y="245"/>
                  </a:cubicBezTo>
                  <a:cubicBezTo>
                    <a:pt x="549" y="244"/>
                    <a:pt x="549" y="241"/>
                    <a:pt x="546" y="242"/>
                  </a:cubicBezTo>
                  <a:cubicBezTo>
                    <a:pt x="542" y="246"/>
                    <a:pt x="538" y="250"/>
                    <a:pt x="536" y="255"/>
                  </a:cubicBezTo>
                  <a:cubicBezTo>
                    <a:pt x="536" y="258"/>
                    <a:pt x="540" y="256"/>
                    <a:pt x="540" y="259"/>
                  </a:cubicBezTo>
                  <a:cubicBezTo>
                    <a:pt x="532" y="263"/>
                    <a:pt x="527" y="268"/>
                    <a:pt x="520" y="272"/>
                  </a:cubicBezTo>
                  <a:close/>
                  <a:moveTo>
                    <a:pt x="591" y="247"/>
                  </a:moveTo>
                  <a:cubicBezTo>
                    <a:pt x="588" y="244"/>
                    <a:pt x="585" y="248"/>
                    <a:pt x="585" y="251"/>
                  </a:cubicBezTo>
                  <a:cubicBezTo>
                    <a:pt x="588" y="251"/>
                    <a:pt x="589" y="249"/>
                    <a:pt x="591" y="247"/>
                  </a:cubicBezTo>
                  <a:close/>
                  <a:moveTo>
                    <a:pt x="212" y="259"/>
                  </a:moveTo>
                  <a:cubicBezTo>
                    <a:pt x="216" y="258"/>
                    <a:pt x="220" y="253"/>
                    <a:pt x="219" y="251"/>
                  </a:cubicBezTo>
                  <a:cubicBezTo>
                    <a:pt x="218" y="254"/>
                    <a:pt x="213" y="255"/>
                    <a:pt x="212" y="259"/>
                  </a:cubicBezTo>
                  <a:close/>
                  <a:moveTo>
                    <a:pt x="673" y="447"/>
                  </a:moveTo>
                  <a:cubicBezTo>
                    <a:pt x="678" y="442"/>
                    <a:pt x="685" y="428"/>
                    <a:pt x="678" y="420"/>
                  </a:cubicBezTo>
                  <a:cubicBezTo>
                    <a:pt x="670" y="427"/>
                    <a:pt x="664" y="431"/>
                    <a:pt x="666" y="444"/>
                  </a:cubicBezTo>
                  <a:cubicBezTo>
                    <a:pt x="669" y="445"/>
                    <a:pt x="669" y="448"/>
                    <a:pt x="673" y="447"/>
                  </a:cubicBezTo>
                  <a:close/>
                  <a:moveTo>
                    <a:pt x="654" y="488"/>
                  </a:moveTo>
                  <a:cubicBezTo>
                    <a:pt x="663" y="487"/>
                    <a:pt x="664" y="483"/>
                    <a:pt x="671" y="485"/>
                  </a:cubicBezTo>
                  <a:cubicBezTo>
                    <a:pt x="677" y="471"/>
                    <a:pt x="685" y="438"/>
                    <a:pt x="663" y="454"/>
                  </a:cubicBezTo>
                  <a:cubicBezTo>
                    <a:pt x="660" y="453"/>
                    <a:pt x="658" y="450"/>
                    <a:pt x="656" y="452"/>
                  </a:cubicBezTo>
                  <a:cubicBezTo>
                    <a:pt x="654" y="456"/>
                    <a:pt x="658" y="457"/>
                    <a:pt x="658" y="461"/>
                  </a:cubicBezTo>
                  <a:cubicBezTo>
                    <a:pt x="658" y="469"/>
                    <a:pt x="651" y="479"/>
                    <a:pt x="654" y="488"/>
                  </a:cubicBezTo>
                  <a:close/>
                  <a:moveTo>
                    <a:pt x="602" y="468"/>
                  </a:moveTo>
                  <a:cubicBezTo>
                    <a:pt x="603" y="464"/>
                    <a:pt x="597" y="462"/>
                    <a:pt x="594" y="465"/>
                  </a:cubicBezTo>
                  <a:cubicBezTo>
                    <a:pt x="595" y="468"/>
                    <a:pt x="599" y="471"/>
                    <a:pt x="602" y="468"/>
                  </a:cubicBezTo>
                  <a:close/>
                  <a:moveTo>
                    <a:pt x="590" y="468"/>
                  </a:moveTo>
                  <a:cubicBezTo>
                    <a:pt x="587" y="463"/>
                    <a:pt x="577" y="465"/>
                    <a:pt x="575" y="470"/>
                  </a:cubicBezTo>
                  <a:cubicBezTo>
                    <a:pt x="578" y="477"/>
                    <a:pt x="590" y="478"/>
                    <a:pt x="590" y="468"/>
                  </a:cubicBezTo>
                  <a:close/>
                  <a:moveTo>
                    <a:pt x="880" y="468"/>
                  </a:moveTo>
                  <a:cubicBezTo>
                    <a:pt x="879" y="472"/>
                    <a:pt x="883" y="470"/>
                    <a:pt x="884" y="470"/>
                  </a:cubicBezTo>
                  <a:cubicBezTo>
                    <a:pt x="885" y="468"/>
                    <a:pt x="881" y="467"/>
                    <a:pt x="880" y="468"/>
                  </a:cubicBezTo>
                  <a:close/>
                  <a:moveTo>
                    <a:pt x="900" y="474"/>
                  </a:moveTo>
                  <a:cubicBezTo>
                    <a:pt x="898" y="473"/>
                    <a:pt x="894" y="473"/>
                    <a:pt x="893" y="474"/>
                  </a:cubicBezTo>
                  <a:cubicBezTo>
                    <a:pt x="892" y="480"/>
                    <a:pt x="900" y="479"/>
                    <a:pt x="900" y="474"/>
                  </a:cubicBezTo>
                  <a:close/>
                  <a:moveTo>
                    <a:pt x="563" y="477"/>
                  </a:moveTo>
                  <a:cubicBezTo>
                    <a:pt x="561" y="477"/>
                    <a:pt x="560" y="477"/>
                    <a:pt x="559" y="476"/>
                  </a:cubicBezTo>
                  <a:cubicBezTo>
                    <a:pt x="558" y="478"/>
                    <a:pt x="555" y="480"/>
                    <a:pt x="557" y="483"/>
                  </a:cubicBezTo>
                  <a:cubicBezTo>
                    <a:pt x="560" y="482"/>
                    <a:pt x="563" y="481"/>
                    <a:pt x="563" y="477"/>
                  </a:cubicBezTo>
                  <a:close/>
                  <a:moveTo>
                    <a:pt x="826" y="506"/>
                  </a:moveTo>
                  <a:cubicBezTo>
                    <a:pt x="828" y="507"/>
                    <a:pt x="832" y="508"/>
                    <a:pt x="834" y="506"/>
                  </a:cubicBezTo>
                  <a:cubicBezTo>
                    <a:pt x="834" y="501"/>
                    <a:pt x="825" y="499"/>
                    <a:pt x="826" y="506"/>
                  </a:cubicBezTo>
                  <a:close/>
                  <a:moveTo>
                    <a:pt x="830" y="510"/>
                  </a:moveTo>
                  <a:cubicBezTo>
                    <a:pt x="830" y="515"/>
                    <a:pt x="830" y="515"/>
                    <a:pt x="830" y="515"/>
                  </a:cubicBezTo>
                  <a:cubicBezTo>
                    <a:pt x="835" y="519"/>
                    <a:pt x="836" y="510"/>
                    <a:pt x="832" y="509"/>
                  </a:cubicBezTo>
                  <a:cubicBezTo>
                    <a:pt x="831" y="510"/>
                    <a:pt x="831" y="510"/>
                    <a:pt x="830" y="510"/>
                  </a:cubicBezTo>
                  <a:close/>
                  <a:moveTo>
                    <a:pt x="892" y="511"/>
                  </a:moveTo>
                  <a:cubicBezTo>
                    <a:pt x="895" y="513"/>
                    <a:pt x="895" y="518"/>
                    <a:pt x="899" y="515"/>
                  </a:cubicBezTo>
                  <a:cubicBezTo>
                    <a:pt x="900" y="511"/>
                    <a:pt x="893" y="507"/>
                    <a:pt x="892" y="511"/>
                  </a:cubicBezTo>
                  <a:close/>
                  <a:moveTo>
                    <a:pt x="922" y="511"/>
                  </a:moveTo>
                  <a:cubicBezTo>
                    <a:pt x="922" y="512"/>
                    <a:pt x="920" y="513"/>
                    <a:pt x="921" y="515"/>
                  </a:cubicBezTo>
                  <a:cubicBezTo>
                    <a:pt x="922" y="516"/>
                    <a:pt x="925" y="516"/>
                    <a:pt x="927" y="515"/>
                  </a:cubicBezTo>
                  <a:cubicBezTo>
                    <a:pt x="926" y="512"/>
                    <a:pt x="925" y="510"/>
                    <a:pt x="922" y="511"/>
                  </a:cubicBezTo>
                  <a:close/>
                  <a:moveTo>
                    <a:pt x="915" y="515"/>
                  </a:moveTo>
                  <a:cubicBezTo>
                    <a:pt x="912" y="514"/>
                    <a:pt x="911" y="515"/>
                    <a:pt x="911" y="518"/>
                  </a:cubicBezTo>
                  <a:cubicBezTo>
                    <a:pt x="915" y="518"/>
                    <a:pt x="915" y="518"/>
                    <a:pt x="915" y="518"/>
                  </a:cubicBezTo>
                  <a:lnTo>
                    <a:pt x="915" y="515"/>
                  </a:lnTo>
                  <a:close/>
                  <a:moveTo>
                    <a:pt x="890" y="517"/>
                  </a:moveTo>
                  <a:cubicBezTo>
                    <a:pt x="889" y="516"/>
                    <a:pt x="886" y="514"/>
                    <a:pt x="884" y="516"/>
                  </a:cubicBezTo>
                  <a:cubicBezTo>
                    <a:pt x="884" y="518"/>
                    <a:pt x="885" y="519"/>
                    <a:pt x="885" y="519"/>
                  </a:cubicBezTo>
                  <a:cubicBezTo>
                    <a:pt x="888" y="519"/>
                    <a:pt x="889" y="519"/>
                    <a:pt x="890" y="517"/>
                  </a:cubicBezTo>
                  <a:close/>
                  <a:moveTo>
                    <a:pt x="923" y="522"/>
                  </a:moveTo>
                  <a:cubicBezTo>
                    <a:pt x="925" y="522"/>
                    <a:pt x="927" y="522"/>
                    <a:pt x="927" y="519"/>
                  </a:cubicBezTo>
                  <a:cubicBezTo>
                    <a:pt x="924" y="519"/>
                    <a:pt x="923" y="520"/>
                    <a:pt x="923" y="522"/>
                  </a:cubicBezTo>
                  <a:close/>
                  <a:moveTo>
                    <a:pt x="908" y="527"/>
                  </a:moveTo>
                  <a:cubicBezTo>
                    <a:pt x="910" y="522"/>
                    <a:pt x="906" y="522"/>
                    <a:pt x="903" y="521"/>
                  </a:cubicBezTo>
                  <a:cubicBezTo>
                    <a:pt x="901" y="523"/>
                    <a:pt x="902" y="526"/>
                    <a:pt x="903" y="528"/>
                  </a:cubicBezTo>
                  <a:cubicBezTo>
                    <a:pt x="905" y="528"/>
                    <a:pt x="907" y="528"/>
                    <a:pt x="908" y="527"/>
                  </a:cubicBezTo>
                  <a:close/>
                  <a:moveTo>
                    <a:pt x="929" y="531"/>
                  </a:moveTo>
                  <a:cubicBezTo>
                    <a:pt x="933" y="531"/>
                    <a:pt x="936" y="529"/>
                    <a:pt x="936" y="524"/>
                  </a:cubicBezTo>
                  <a:cubicBezTo>
                    <a:pt x="931" y="524"/>
                    <a:pt x="928" y="525"/>
                    <a:pt x="929" y="531"/>
                  </a:cubicBezTo>
                  <a:close/>
                  <a:moveTo>
                    <a:pt x="916" y="534"/>
                  </a:moveTo>
                  <a:cubicBezTo>
                    <a:pt x="920" y="537"/>
                    <a:pt x="926" y="533"/>
                    <a:pt x="920" y="531"/>
                  </a:cubicBezTo>
                  <a:cubicBezTo>
                    <a:pt x="920" y="533"/>
                    <a:pt x="916" y="531"/>
                    <a:pt x="916" y="534"/>
                  </a:cubicBezTo>
                  <a:close/>
                  <a:moveTo>
                    <a:pt x="898" y="536"/>
                  </a:moveTo>
                  <a:cubicBezTo>
                    <a:pt x="898" y="535"/>
                    <a:pt x="898" y="535"/>
                    <a:pt x="899" y="535"/>
                  </a:cubicBezTo>
                  <a:cubicBezTo>
                    <a:pt x="899" y="533"/>
                    <a:pt x="899" y="533"/>
                    <a:pt x="899" y="533"/>
                  </a:cubicBezTo>
                  <a:cubicBezTo>
                    <a:pt x="898" y="533"/>
                    <a:pt x="898" y="533"/>
                    <a:pt x="898" y="532"/>
                  </a:cubicBezTo>
                  <a:cubicBezTo>
                    <a:pt x="896" y="532"/>
                    <a:pt x="896" y="532"/>
                    <a:pt x="896" y="532"/>
                  </a:cubicBezTo>
                  <a:cubicBezTo>
                    <a:pt x="896" y="532"/>
                    <a:pt x="896" y="533"/>
                    <a:pt x="895" y="533"/>
                  </a:cubicBezTo>
                  <a:cubicBezTo>
                    <a:pt x="895" y="535"/>
                    <a:pt x="895" y="535"/>
                    <a:pt x="895" y="535"/>
                  </a:cubicBezTo>
                  <a:cubicBezTo>
                    <a:pt x="896" y="535"/>
                    <a:pt x="896" y="535"/>
                    <a:pt x="896" y="536"/>
                  </a:cubicBezTo>
                  <a:lnTo>
                    <a:pt x="898" y="536"/>
                  </a:lnTo>
                  <a:close/>
                  <a:moveTo>
                    <a:pt x="948" y="535"/>
                  </a:moveTo>
                  <a:cubicBezTo>
                    <a:pt x="942" y="531"/>
                    <a:pt x="937" y="543"/>
                    <a:pt x="943" y="545"/>
                  </a:cubicBezTo>
                  <a:cubicBezTo>
                    <a:pt x="945" y="542"/>
                    <a:pt x="948" y="540"/>
                    <a:pt x="948" y="535"/>
                  </a:cubicBezTo>
                  <a:close/>
                  <a:moveTo>
                    <a:pt x="738" y="546"/>
                  </a:moveTo>
                  <a:cubicBezTo>
                    <a:pt x="742" y="530"/>
                    <a:pt x="721" y="544"/>
                    <a:pt x="738" y="546"/>
                  </a:cubicBezTo>
                  <a:close/>
                  <a:moveTo>
                    <a:pt x="871" y="540"/>
                  </a:moveTo>
                  <a:cubicBezTo>
                    <a:pt x="870" y="538"/>
                    <a:pt x="866" y="538"/>
                    <a:pt x="864" y="539"/>
                  </a:cubicBezTo>
                  <a:cubicBezTo>
                    <a:pt x="863" y="543"/>
                    <a:pt x="871" y="543"/>
                    <a:pt x="871" y="540"/>
                  </a:cubicBezTo>
                  <a:close/>
                  <a:moveTo>
                    <a:pt x="931" y="546"/>
                  </a:moveTo>
                  <a:cubicBezTo>
                    <a:pt x="931" y="549"/>
                    <a:pt x="928" y="555"/>
                    <a:pt x="933" y="555"/>
                  </a:cubicBezTo>
                  <a:cubicBezTo>
                    <a:pt x="937" y="554"/>
                    <a:pt x="935" y="546"/>
                    <a:pt x="931" y="546"/>
                  </a:cubicBezTo>
                  <a:close/>
                  <a:moveTo>
                    <a:pt x="1040" y="559"/>
                  </a:moveTo>
                  <a:cubicBezTo>
                    <a:pt x="1041" y="555"/>
                    <a:pt x="1041" y="550"/>
                    <a:pt x="1043" y="546"/>
                  </a:cubicBezTo>
                  <a:cubicBezTo>
                    <a:pt x="1033" y="551"/>
                    <a:pt x="1019" y="551"/>
                    <a:pt x="1011" y="557"/>
                  </a:cubicBezTo>
                  <a:cubicBezTo>
                    <a:pt x="1017" y="570"/>
                    <a:pt x="1029" y="563"/>
                    <a:pt x="1040" y="559"/>
                  </a:cubicBezTo>
                  <a:close/>
                  <a:moveTo>
                    <a:pt x="879" y="557"/>
                  </a:moveTo>
                  <a:cubicBezTo>
                    <a:pt x="888" y="556"/>
                    <a:pt x="895" y="564"/>
                    <a:pt x="901" y="564"/>
                  </a:cubicBezTo>
                  <a:cubicBezTo>
                    <a:pt x="907" y="565"/>
                    <a:pt x="915" y="562"/>
                    <a:pt x="921" y="560"/>
                  </a:cubicBezTo>
                  <a:cubicBezTo>
                    <a:pt x="921" y="557"/>
                    <a:pt x="921" y="557"/>
                    <a:pt x="921" y="557"/>
                  </a:cubicBezTo>
                  <a:cubicBezTo>
                    <a:pt x="909" y="556"/>
                    <a:pt x="890" y="552"/>
                    <a:pt x="880" y="550"/>
                  </a:cubicBezTo>
                  <a:cubicBezTo>
                    <a:pt x="877" y="551"/>
                    <a:pt x="878" y="554"/>
                    <a:pt x="879" y="557"/>
                  </a:cubicBezTo>
                  <a:close/>
                  <a:moveTo>
                    <a:pt x="1674" y="879"/>
                  </a:moveTo>
                  <a:cubicBezTo>
                    <a:pt x="1683" y="865"/>
                    <a:pt x="1681" y="833"/>
                    <a:pt x="1670" y="822"/>
                  </a:cubicBezTo>
                  <a:cubicBezTo>
                    <a:pt x="1671" y="839"/>
                    <a:pt x="1667" y="864"/>
                    <a:pt x="1674" y="879"/>
                  </a:cubicBezTo>
                  <a:close/>
                  <a:moveTo>
                    <a:pt x="1346" y="1324"/>
                  </a:moveTo>
                  <a:cubicBezTo>
                    <a:pt x="1340" y="1316"/>
                    <a:pt x="1334" y="1319"/>
                    <a:pt x="1330" y="1326"/>
                  </a:cubicBezTo>
                  <a:cubicBezTo>
                    <a:pt x="1326" y="1332"/>
                    <a:pt x="1326" y="1337"/>
                    <a:pt x="1319" y="1342"/>
                  </a:cubicBezTo>
                  <a:cubicBezTo>
                    <a:pt x="1316" y="1344"/>
                    <a:pt x="1314" y="1344"/>
                    <a:pt x="1311" y="1347"/>
                  </a:cubicBezTo>
                  <a:cubicBezTo>
                    <a:pt x="1310" y="1350"/>
                    <a:pt x="1310" y="1355"/>
                    <a:pt x="1307" y="1357"/>
                  </a:cubicBezTo>
                  <a:cubicBezTo>
                    <a:pt x="1299" y="1352"/>
                    <a:pt x="1299" y="1365"/>
                    <a:pt x="1294" y="1369"/>
                  </a:cubicBezTo>
                  <a:cubicBezTo>
                    <a:pt x="1293" y="1369"/>
                    <a:pt x="1294" y="1366"/>
                    <a:pt x="1290" y="1367"/>
                  </a:cubicBezTo>
                  <a:cubicBezTo>
                    <a:pt x="1290" y="1370"/>
                    <a:pt x="1289" y="1373"/>
                    <a:pt x="1288" y="1375"/>
                  </a:cubicBezTo>
                  <a:cubicBezTo>
                    <a:pt x="1274" y="1380"/>
                    <a:pt x="1261" y="1387"/>
                    <a:pt x="1246" y="1392"/>
                  </a:cubicBezTo>
                  <a:cubicBezTo>
                    <a:pt x="1245" y="1399"/>
                    <a:pt x="1239" y="1403"/>
                    <a:pt x="1234" y="1406"/>
                  </a:cubicBezTo>
                  <a:cubicBezTo>
                    <a:pt x="1229" y="1419"/>
                    <a:pt x="1234" y="1431"/>
                    <a:pt x="1228" y="1440"/>
                  </a:cubicBezTo>
                  <a:cubicBezTo>
                    <a:pt x="1222" y="1449"/>
                    <a:pt x="1206" y="1451"/>
                    <a:pt x="1200" y="1461"/>
                  </a:cubicBezTo>
                  <a:cubicBezTo>
                    <a:pt x="1196" y="1468"/>
                    <a:pt x="1195" y="1479"/>
                    <a:pt x="1200" y="1486"/>
                  </a:cubicBezTo>
                  <a:cubicBezTo>
                    <a:pt x="1199" y="1488"/>
                    <a:pt x="1197" y="1489"/>
                    <a:pt x="1196" y="1492"/>
                  </a:cubicBezTo>
                  <a:cubicBezTo>
                    <a:pt x="1210" y="1500"/>
                    <a:pt x="1225" y="1491"/>
                    <a:pt x="1237" y="1484"/>
                  </a:cubicBezTo>
                  <a:cubicBezTo>
                    <a:pt x="1249" y="1477"/>
                    <a:pt x="1252" y="1470"/>
                    <a:pt x="1258" y="1461"/>
                  </a:cubicBezTo>
                  <a:cubicBezTo>
                    <a:pt x="1266" y="1449"/>
                    <a:pt x="1279" y="1438"/>
                    <a:pt x="1290" y="1426"/>
                  </a:cubicBezTo>
                  <a:cubicBezTo>
                    <a:pt x="1303" y="1412"/>
                    <a:pt x="1321" y="1396"/>
                    <a:pt x="1320" y="1379"/>
                  </a:cubicBezTo>
                  <a:cubicBezTo>
                    <a:pt x="1329" y="1372"/>
                    <a:pt x="1331" y="1358"/>
                    <a:pt x="1346" y="1357"/>
                  </a:cubicBezTo>
                  <a:cubicBezTo>
                    <a:pt x="1347" y="1353"/>
                    <a:pt x="1345" y="1350"/>
                    <a:pt x="1343" y="1348"/>
                  </a:cubicBezTo>
                  <a:cubicBezTo>
                    <a:pt x="1345" y="1344"/>
                    <a:pt x="1348" y="1342"/>
                    <a:pt x="1349" y="1337"/>
                  </a:cubicBezTo>
                  <a:cubicBezTo>
                    <a:pt x="1346" y="1333"/>
                    <a:pt x="1345" y="1330"/>
                    <a:pt x="1346" y="1324"/>
                  </a:cubicBezTo>
                  <a:close/>
                  <a:moveTo>
                    <a:pt x="543" y="30"/>
                  </a:moveTo>
                  <a:cubicBezTo>
                    <a:pt x="549" y="31"/>
                    <a:pt x="558" y="29"/>
                    <a:pt x="561" y="24"/>
                  </a:cubicBezTo>
                  <a:cubicBezTo>
                    <a:pt x="559" y="23"/>
                    <a:pt x="555" y="25"/>
                    <a:pt x="555" y="23"/>
                  </a:cubicBezTo>
                  <a:cubicBezTo>
                    <a:pt x="557" y="20"/>
                    <a:pt x="562" y="20"/>
                    <a:pt x="565" y="18"/>
                  </a:cubicBezTo>
                  <a:cubicBezTo>
                    <a:pt x="566" y="22"/>
                    <a:pt x="567" y="23"/>
                    <a:pt x="567" y="25"/>
                  </a:cubicBezTo>
                  <a:cubicBezTo>
                    <a:pt x="591" y="20"/>
                    <a:pt x="609" y="13"/>
                    <a:pt x="635" y="14"/>
                  </a:cubicBezTo>
                  <a:cubicBezTo>
                    <a:pt x="628" y="14"/>
                    <a:pt x="628" y="14"/>
                    <a:pt x="628" y="14"/>
                  </a:cubicBezTo>
                  <a:cubicBezTo>
                    <a:pt x="619" y="24"/>
                    <a:pt x="601" y="16"/>
                    <a:pt x="593" y="22"/>
                  </a:cubicBezTo>
                  <a:cubicBezTo>
                    <a:pt x="592" y="24"/>
                    <a:pt x="595" y="25"/>
                    <a:pt x="593" y="26"/>
                  </a:cubicBezTo>
                  <a:cubicBezTo>
                    <a:pt x="591" y="26"/>
                    <a:pt x="590" y="24"/>
                    <a:pt x="589" y="23"/>
                  </a:cubicBezTo>
                  <a:cubicBezTo>
                    <a:pt x="584" y="25"/>
                    <a:pt x="579" y="26"/>
                    <a:pt x="576" y="31"/>
                  </a:cubicBezTo>
                  <a:cubicBezTo>
                    <a:pt x="580" y="32"/>
                    <a:pt x="584" y="29"/>
                    <a:pt x="586" y="34"/>
                  </a:cubicBezTo>
                  <a:cubicBezTo>
                    <a:pt x="573" y="46"/>
                    <a:pt x="553" y="51"/>
                    <a:pt x="537" y="59"/>
                  </a:cubicBezTo>
                  <a:cubicBezTo>
                    <a:pt x="541" y="61"/>
                    <a:pt x="545" y="57"/>
                    <a:pt x="546" y="59"/>
                  </a:cubicBezTo>
                  <a:cubicBezTo>
                    <a:pt x="542" y="61"/>
                    <a:pt x="540" y="65"/>
                    <a:pt x="534" y="66"/>
                  </a:cubicBezTo>
                  <a:cubicBezTo>
                    <a:pt x="534" y="62"/>
                    <a:pt x="534" y="62"/>
                    <a:pt x="534" y="62"/>
                  </a:cubicBezTo>
                  <a:cubicBezTo>
                    <a:pt x="528" y="61"/>
                    <a:pt x="525" y="67"/>
                    <a:pt x="527" y="71"/>
                  </a:cubicBezTo>
                  <a:cubicBezTo>
                    <a:pt x="521" y="74"/>
                    <a:pt x="515" y="77"/>
                    <a:pt x="508" y="79"/>
                  </a:cubicBezTo>
                  <a:cubicBezTo>
                    <a:pt x="508" y="77"/>
                    <a:pt x="510" y="77"/>
                    <a:pt x="507" y="77"/>
                  </a:cubicBezTo>
                  <a:cubicBezTo>
                    <a:pt x="503" y="77"/>
                    <a:pt x="503" y="80"/>
                    <a:pt x="499" y="81"/>
                  </a:cubicBezTo>
                  <a:cubicBezTo>
                    <a:pt x="479" y="84"/>
                    <a:pt x="469" y="99"/>
                    <a:pt x="452" y="107"/>
                  </a:cubicBezTo>
                  <a:cubicBezTo>
                    <a:pt x="456" y="107"/>
                    <a:pt x="458" y="102"/>
                    <a:pt x="461" y="106"/>
                  </a:cubicBezTo>
                  <a:cubicBezTo>
                    <a:pt x="441" y="111"/>
                    <a:pt x="429" y="123"/>
                    <a:pt x="419" y="138"/>
                  </a:cubicBezTo>
                  <a:cubicBezTo>
                    <a:pt x="422" y="140"/>
                    <a:pt x="423" y="138"/>
                    <a:pt x="426" y="137"/>
                  </a:cubicBezTo>
                  <a:cubicBezTo>
                    <a:pt x="423" y="141"/>
                    <a:pt x="417" y="144"/>
                    <a:pt x="418" y="149"/>
                  </a:cubicBezTo>
                  <a:cubicBezTo>
                    <a:pt x="438" y="144"/>
                    <a:pt x="451" y="129"/>
                    <a:pt x="469" y="123"/>
                  </a:cubicBezTo>
                  <a:cubicBezTo>
                    <a:pt x="476" y="120"/>
                    <a:pt x="483" y="118"/>
                    <a:pt x="490" y="114"/>
                  </a:cubicBezTo>
                  <a:cubicBezTo>
                    <a:pt x="490" y="112"/>
                    <a:pt x="492" y="111"/>
                    <a:pt x="494" y="110"/>
                  </a:cubicBezTo>
                  <a:cubicBezTo>
                    <a:pt x="515" y="109"/>
                    <a:pt x="539" y="103"/>
                    <a:pt x="564" y="92"/>
                  </a:cubicBezTo>
                  <a:cubicBezTo>
                    <a:pt x="562" y="94"/>
                    <a:pt x="564" y="93"/>
                    <a:pt x="565" y="95"/>
                  </a:cubicBezTo>
                  <a:cubicBezTo>
                    <a:pt x="585" y="94"/>
                    <a:pt x="601" y="89"/>
                    <a:pt x="619" y="85"/>
                  </a:cubicBezTo>
                  <a:cubicBezTo>
                    <a:pt x="618" y="82"/>
                    <a:pt x="614" y="82"/>
                    <a:pt x="612" y="80"/>
                  </a:cubicBezTo>
                  <a:cubicBezTo>
                    <a:pt x="616" y="79"/>
                    <a:pt x="616" y="74"/>
                    <a:pt x="622" y="75"/>
                  </a:cubicBezTo>
                  <a:cubicBezTo>
                    <a:pt x="622" y="77"/>
                    <a:pt x="619" y="77"/>
                    <a:pt x="618" y="80"/>
                  </a:cubicBezTo>
                  <a:cubicBezTo>
                    <a:pt x="627" y="89"/>
                    <a:pt x="641" y="68"/>
                    <a:pt x="631" y="63"/>
                  </a:cubicBezTo>
                  <a:cubicBezTo>
                    <a:pt x="634" y="62"/>
                    <a:pt x="637" y="64"/>
                    <a:pt x="641" y="62"/>
                  </a:cubicBezTo>
                  <a:cubicBezTo>
                    <a:pt x="643" y="63"/>
                    <a:pt x="642" y="67"/>
                    <a:pt x="645" y="67"/>
                  </a:cubicBezTo>
                  <a:cubicBezTo>
                    <a:pt x="648" y="62"/>
                    <a:pt x="652" y="64"/>
                    <a:pt x="659" y="63"/>
                  </a:cubicBezTo>
                  <a:cubicBezTo>
                    <a:pt x="660" y="56"/>
                    <a:pt x="669" y="62"/>
                    <a:pt x="672" y="57"/>
                  </a:cubicBezTo>
                  <a:cubicBezTo>
                    <a:pt x="671" y="56"/>
                    <a:pt x="669" y="56"/>
                    <a:pt x="669" y="54"/>
                  </a:cubicBezTo>
                  <a:cubicBezTo>
                    <a:pt x="672" y="51"/>
                    <a:pt x="673" y="53"/>
                    <a:pt x="676" y="54"/>
                  </a:cubicBezTo>
                  <a:cubicBezTo>
                    <a:pt x="678" y="52"/>
                    <a:pt x="679" y="51"/>
                    <a:pt x="681" y="50"/>
                  </a:cubicBezTo>
                  <a:cubicBezTo>
                    <a:pt x="682" y="46"/>
                    <a:pt x="678" y="47"/>
                    <a:pt x="679" y="44"/>
                  </a:cubicBezTo>
                  <a:cubicBezTo>
                    <a:pt x="687" y="44"/>
                    <a:pt x="691" y="46"/>
                    <a:pt x="696" y="43"/>
                  </a:cubicBezTo>
                  <a:cubicBezTo>
                    <a:pt x="698" y="40"/>
                    <a:pt x="693" y="43"/>
                    <a:pt x="693" y="40"/>
                  </a:cubicBezTo>
                  <a:cubicBezTo>
                    <a:pt x="704" y="32"/>
                    <a:pt x="724" y="28"/>
                    <a:pt x="740" y="25"/>
                  </a:cubicBezTo>
                  <a:cubicBezTo>
                    <a:pt x="736" y="19"/>
                    <a:pt x="724" y="24"/>
                    <a:pt x="718" y="23"/>
                  </a:cubicBezTo>
                  <a:cubicBezTo>
                    <a:pt x="718" y="19"/>
                    <a:pt x="724" y="21"/>
                    <a:pt x="725" y="18"/>
                  </a:cubicBezTo>
                  <a:cubicBezTo>
                    <a:pt x="713" y="13"/>
                    <a:pt x="688" y="10"/>
                    <a:pt x="674" y="16"/>
                  </a:cubicBezTo>
                  <a:cubicBezTo>
                    <a:pt x="674" y="13"/>
                    <a:pt x="674" y="13"/>
                    <a:pt x="674" y="13"/>
                  </a:cubicBezTo>
                  <a:cubicBezTo>
                    <a:pt x="666" y="16"/>
                    <a:pt x="660" y="11"/>
                    <a:pt x="653" y="12"/>
                  </a:cubicBezTo>
                  <a:cubicBezTo>
                    <a:pt x="653" y="10"/>
                    <a:pt x="655" y="10"/>
                    <a:pt x="656" y="9"/>
                  </a:cubicBezTo>
                  <a:cubicBezTo>
                    <a:pt x="645" y="5"/>
                    <a:pt x="629" y="0"/>
                    <a:pt x="616" y="7"/>
                  </a:cubicBezTo>
                  <a:cubicBezTo>
                    <a:pt x="617" y="7"/>
                    <a:pt x="619" y="6"/>
                    <a:pt x="619" y="8"/>
                  </a:cubicBezTo>
                  <a:cubicBezTo>
                    <a:pt x="613" y="8"/>
                    <a:pt x="615" y="9"/>
                    <a:pt x="611" y="11"/>
                  </a:cubicBezTo>
                  <a:cubicBezTo>
                    <a:pt x="608" y="7"/>
                    <a:pt x="615" y="6"/>
                    <a:pt x="618" y="4"/>
                  </a:cubicBezTo>
                  <a:cubicBezTo>
                    <a:pt x="604" y="5"/>
                    <a:pt x="594" y="9"/>
                    <a:pt x="584" y="13"/>
                  </a:cubicBezTo>
                  <a:cubicBezTo>
                    <a:pt x="585" y="14"/>
                    <a:pt x="585" y="15"/>
                    <a:pt x="585" y="16"/>
                  </a:cubicBezTo>
                  <a:cubicBezTo>
                    <a:pt x="582" y="18"/>
                    <a:pt x="575" y="13"/>
                    <a:pt x="576" y="17"/>
                  </a:cubicBezTo>
                  <a:cubicBezTo>
                    <a:pt x="572" y="17"/>
                    <a:pt x="570" y="19"/>
                    <a:pt x="566" y="18"/>
                  </a:cubicBezTo>
                  <a:cubicBezTo>
                    <a:pt x="566" y="16"/>
                    <a:pt x="570" y="16"/>
                    <a:pt x="570" y="14"/>
                  </a:cubicBezTo>
                  <a:cubicBezTo>
                    <a:pt x="563" y="14"/>
                    <a:pt x="559" y="22"/>
                    <a:pt x="553" y="20"/>
                  </a:cubicBezTo>
                  <a:cubicBezTo>
                    <a:pt x="554" y="20"/>
                    <a:pt x="554" y="19"/>
                    <a:pt x="553" y="18"/>
                  </a:cubicBezTo>
                  <a:cubicBezTo>
                    <a:pt x="558" y="18"/>
                    <a:pt x="560" y="16"/>
                    <a:pt x="565" y="15"/>
                  </a:cubicBezTo>
                  <a:cubicBezTo>
                    <a:pt x="561" y="11"/>
                    <a:pt x="571" y="11"/>
                    <a:pt x="570" y="8"/>
                  </a:cubicBezTo>
                  <a:cubicBezTo>
                    <a:pt x="563" y="10"/>
                    <a:pt x="556" y="12"/>
                    <a:pt x="550" y="15"/>
                  </a:cubicBezTo>
                  <a:cubicBezTo>
                    <a:pt x="553" y="17"/>
                    <a:pt x="554" y="14"/>
                    <a:pt x="556" y="16"/>
                  </a:cubicBezTo>
                  <a:cubicBezTo>
                    <a:pt x="552" y="17"/>
                    <a:pt x="550" y="19"/>
                    <a:pt x="550" y="20"/>
                  </a:cubicBezTo>
                  <a:cubicBezTo>
                    <a:pt x="547" y="18"/>
                    <a:pt x="548" y="22"/>
                    <a:pt x="545" y="23"/>
                  </a:cubicBezTo>
                  <a:cubicBezTo>
                    <a:pt x="549" y="23"/>
                    <a:pt x="541" y="26"/>
                    <a:pt x="543" y="30"/>
                  </a:cubicBezTo>
                  <a:close/>
                  <a:moveTo>
                    <a:pt x="595" y="5"/>
                  </a:moveTo>
                  <a:cubicBezTo>
                    <a:pt x="588" y="5"/>
                    <a:pt x="580" y="11"/>
                    <a:pt x="577" y="13"/>
                  </a:cubicBezTo>
                  <a:cubicBezTo>
                    <a:pt x="580" y="13"/>
                    <a:pt x="582" y="12"/>
                    <a:pt x="586" y="11"/>
                  </a:cubicBezTo>
                  <a:cubicBezTo>
                    <a:pt x="585" y="7"/>
                    <a:pt x="592" y="9"/>
                    <a:pt x="595" y="5"/>
                  </a:cubicBezTo>
                  <a:close/>
                  <a:moveTo>
                    <a:pt x="397" y="110"/>
                  </a:moveTo>
                  <a:cubicBezTo>
                    <a:pt x="404" y="109"/>
                    <a:pt x="408" y="99"/>
                    <a:pt x="414" y="99"/>
                  </a:cubicBezTo>
                  <a:cubicBezTo>
                    <a:pt x="414" y="102"/>
                    <a:pt x="410" y="102"/>
                    <a:pt x="409" y="105"/>
                  </a:cubicBezTo>
                  <a:cubicBezTo>
                    <a:pt x="428" y="100"/>
                    <a:pt x="438" y="84"/>
                    <a:pt x="454" y="80"/>
                  </a:cubicBezTo>
                  <a:cubicBezTo>
                    <a:pt x="451" y="85"/>
                    <a:pt x="443" y="87"/>
                    <a:pt x="439" y="92"/>
                  </a:cubicBezTo>
                  <a:cubicBezTo>
                    <a:pt x="448" y="87"/>
                    <a:pt x="457" y="87"/>
                    <a:pt x="467" y="82"/>
                  </a:cubicBezTo>
                  <a:cubicBezTo>
                    <a:pt x="467" y="78"/>
                    <a:pt x="467" y="78"/>
                    <a:pt x="467" y="78"/>
                  </a:cubicBezTo>
                  <a:cubicBezTo>
                    <a:pt x="469" y="76"/>
                    <a:pt x="472" y="75"/>
                    <a:pt x="474" y="74"/>
                  </a:cubicBezTo>
                  <a:cubicBezTo>
                    <a:pt x="478" y="62"/>
                    <a:pt x="492" y="66"/>
                    <a:pt x="499" y="59"/>
                  </a:cubicBezTo>
                  <a:cubicBezTo>
                    <a:pt x="499" y="58"/>
                    <a:pt x="498" y="59"/>
                    <a:pt x="498" y="58"/>
                  </a:cubicBezTo>
                  <a:cubicBezTo>
                    <a:pt x="504" y="58"/>
                    <a:pt x="509" y="55"/>
                    <a:pt x="507" y="51"/>
                  </a:cubicBezTo>
                  <a:cubicBezTo>
                    <a:pt x="510" y="52"/>
                    <a:pt x="517" y="49"/>
                    <a:pt x="513" y="46"/>
                  </a:cubicBezTo>
                  <a:cubicBezTo>
                    <a:pt x="518" y="44"/>
                    <a:pt x="525" y="44"/>
                    <a:pt x="526" y="38"/>
                  </a:cubicBezTo>
                  <a:cubicBezTo>
                    <a:pt x="530" y="40"/>
                    <a:pt x="536" y="38"/>
                    <a:pt x="536" y="34"/>
                  </a:cubicBezTo>
                  <a:cubicBezTo>
                    <a:pt x="532" y="32"/>
                    <a:pt x="532" y="33"/>
                    <a:pt x="535" y="30"/>
                  </a:cubicBezTo>
                  <a:cubicBezTo>
                    <a:pt x="505" y="33"/>
                    <a:pt x="487" y="53"/>
                    <a:pt x="461" y="57"/>
                  </a:cubicBezTo>
                  <a:cubicBezTo>
                    <a:pt x="484" y="51"/>
                    <a:pt x="499" y="35"/>
                    <a:pt x="520" y="31"/>
                  </a:cubicBezTo>
                  <a:cubicBezTo>
                    <a:pt x="523" y="30"/>
                    <a:pt x="536" y="31"/>
                    <a:pt x="540" y="24"/>
                  </a:cubicBezTo>
                  <a:cubicBezTo>
                    <a:pt x="538" y="23"/>
                    <a:pt x="537" y="27"/>
                    <a:pt x="536" y="24"/>
                  </a:cubicBezTo>
                  <a:cubicBezTo>
                    <a:pt x="538" y="24"/>
                    <a:pt x="540" y="24"/>
                    <a:pt x="540" y="21"/>
                  </a:cubicBezTo>
                  <a:cubicBezTo>
                    <a:pt x="536" y="21"/>
                    <a:pt x="537" y="21"/>
                    <a:pt x="531" y="21"/>
                  </a:cubicBezTo>
                  <a:cubicBezTo>
                    <a:pt x="531" y="23"/>
                    <a:pt x="531" y="23"/>
                    <a:pt x="530" y="24"/>
                  </a:cubicBezTo>
                  <a:cubicBezTo>
                    <a:pt x="520" y="31"/>
                    <a:pt x="502" y="35"/>
                    <a:pt x="492" y="39"/>
                  </a:cubicBezTo>
                  <a:cubicBezTo>
                    <a:pt x="509" y="31"/>
                    <a:pt x="495" y="38"/>
                    <a:pt x="485" y="41"/>
                  </a:cubicBezTo>
                  <a:cubicBezTo>
                    <a:pt x="483" y="43"/>
                    <a:pt x="484" y="44"/>
                    <a:pt x="483" y="45"/>
                  </a:cubicBezTo>
                  <a:cubicBezTo>
                    <a:pt x="481" y="45"/>
                    <a:pt x="479" y="45"/>
                    <a:pt x="478" y="47"/>
                  </a:cubicBezTo>
                  <a:cubicBezTo>
                    <a:pt x="459" y="52"/>
                    <a:pt x="439" y="65"/>
                    <a:pt x="422" y="75"/>
                  </a:cubicBezTo>
                  <a:cubicBezTo>
                    <a:pt x="423" y="75"/>
                    <a:pt x="424" y="75"/>
                    <a:pt x="425" y="76"/>
                  </a:cubicBezTo>
                  <a:cubicBezTo>
                    <a:pt x="421" y="77"/>
                    <a:pt x="420" y="77"/>
                    <a:pt x="420" y="75"/>
                  </a:cubicBezTo>
                  <a:cubicBezTo>
                    <a:pt x="422" y="78"/>
                    <a:pt x="410" y="83"/>
                    <a:pt x="412" y="83"/>
                  </a:cubicBezTo>
                  <a:cubicBezTo>
                    <a:pt x="414" y="83"/>
                    <a:pt x="415" y="81"/>
                    <a:pt x="415" y="83"/>
                  </a:cubicBezTo>
                  <a:cubicBezTo>
                    <a:pt x="413" y="84"/>
                    <a:pt x="411" y="85"/>
                    <a:pt x="409" y="87"/>
                  </a:cubicBezTo>
                  <a:cubicBezTo>
                    <a:pt x="411" y="87"/>
                    <a:pt x="411" y="89"/>
                    <a:pt x="412" y="89"/>
                  </a:cubicBezTo>
                  <a:cubicBezTo>
                    <a:pt x="411" y="83"/>
                    <a:pt x="438" y="72"/>
                    <a:pt x="445" y="66"/>
                  </a:cubicBezTo>
                  <a:cubicBezTo>
                    <a:pt x="445" y="67"/>
                    <a:pt x="445" y="68"/>
                    <a:pt x="446" y="68"/>
                  </a:cubicBezTo>
                  <a:cubicBezTo>
                    <a:pt x="461" y="62"/>
                    <a:pt x="476" y="54"/>
                    <a:pt x="492" y="49"/>
                  </a:cubicBezTo>
                  <a:cubicBezTo>
                    <a:pt x="489" y="52"/>
                    <a:pt x="491" y="51"/>
                    <a:pt x="493" y="52"/>
                  </a:cubicBezTo>
                  <a:cubicBezTo>
                    <a:pt x="489" y="56"/>
                    <a:pt x="481" y="56"/>
                    <a:pt x="481" y="57"/>
                  </a:cubicBezTo>
                  <a:cubicBezTo>
                    <a:pt x="481" y="60"/>
                    <a:pt x="484" y="54"/>
                    <a:pt x="484" y="58"/>
                  </a:cubicBezTo>
                  <a:cubicBezTo>
                    <a:pt x="474" y="60"/>
                    <a:pt x="475" y="66"/>
                    <a:pt x="467" y="64"/>
                  </a:cubicBezTo>
                  <a:cubicBezTo>
                    <a:pt x="468" y="64"/>
                    <a:pt x="469" y="64"/>
                    <a:pt x="470" y="62"/>
                  </a:cubicBezTo>
                  <a:cubicBezTo>
                    <a:pt x="465" y="63"/>
                    <a:pt x="461" y="63"/>
                    <a:pt x="459" y="67"/>
                  </a:cubicBezTo>
                  <a:cubicBezTo>
                    <a:pt x="462" y="67"/>
                    <a:pt x="466" y="64"/>
                    <a:pt x="468" y="67"/>
                  </a:cubicBezTo>
                  <a:cubicBezTo>
                    <a:pt x="457" y="71"/>
                    <a:pt x="446" y="75"/>
                    <a:pt x="436" y="80"/>
                  </a:cubicBezTo>
                  <a:cubicBezTo>
                    <a:pt x="435" y="79"/>
                    <a:pt x="435" y="79"/>
                    <a:pt x="435" y="78"/>
                  </a:cubicBezTo>
                  <a:cubicBezTo>
                    <a:pt x="430" y="79"/>
                    <a:pt x="424" y="81"/>
                    <a:pt x="421" y="84"/>
                  </a:cubicBezTo>
                  <a:cubicBezTo>
                    <a:pt x="424" y="85"/>
                    <a:pt x="425" y="84"/>
                    <a:pt x="426" y="85"/>
                  </a:cubicBezTo>
                  <a:cubicBezTo>
                    <a:pt x="420" y="91"/>
                    <a:pt x="401" y="99"/>
                    <a:pt x="403" y="103"/>
                  </a:cubicBezTo>
                  <a:cubicBezTo>
                    <a:pt x="399" y="103"/>
                    <a:pt x="400" y="108"/>
                    <a:pt x="397" y="110"/>
                  </a:cubicBezTo>
                  <a:close/>
                  <a:moveTo>
                    <a:pt x="1664" y="783"/>
                  </a:moveTo>
                  <a:cubicBezTo>
                    <a:pt x="1662" y="757"/>
                    <a:pt x="1654" y="739"/>
                    <a:pt x="1657" y="715"/>
                  </a:cubicBezTo>
                  <a:cubicBezTo>
                    <a:pt x="1657" y="713"/>
                    <a:pt x="1660" y="711"/>
                    <a:pt x="1660" y="709"/>
                  </a:cubicBezTo>
                  <a:cubicBezTo>
                    <a:pt x="1661" y="704"/>
                    <a:pt x="1658" y="695"/>
                    <a:pt x="1659" y="688"/>
                  </a:cubicBezTo>
                  <a:cubicBezTo>
                    <a:pt x="1663" y="662"/>
                    <a:pt x="1657" y="631"/>
                    <a:pt x="1654" y="604"/>
                  </a:cubicBezTo>
                  <a:cubicBezTo>
                    <a:pt x="1657" y="604"/>
                    <a:pt x="1656" y="608"/>
                    <a:pt x="1658" y="609"/>
                  </a:cubicBezTo>
                  <a:cubicBezTo>
                    <a:pt x="1657" y="596"/>
                    <a:pt x="1656" y="594"/>
                    <a:pt x="1660" y="586"/>
                  </a:cubicBezTo>
                  <a:cubicBezTo>
                    <a:pt x="1665" y="605"/>
                    <a:pt x="1677" y="623"/>
                    <a:pt x="1681" y="642"/>
                  </a:cubicBezTo>
                  <a:cubicBezTo>
                    <a:pt x="1653" y="494"/>
                    <a:pt x="1586" y="373"/>
                    <a:pt x="1504" y="271"/>
                  </a:cubicBezTo>
                  <a:cubicBezTo>
                    <a:pt x="1433" y="183"/>
                    <a:pt x="1339" y="108"/>
                    <a:pt x="1233" y="55"/>
                  </a:cubicBezTo>
                  <a:cubicBezTo>
                    <a:pt x="1211" y="44"/>
                    <a:pt x="1193" y="32"/>
                    <a:pt x="1170" y="30"/>
                  </a:cubicBezTo>
                  <a:cubicBezTo>
                    <a:pt x="1169" y="38"/>
                    <a:pt x="1191" y="35"/>
                    <a:pt x="1181" y="42"/>
                  </a:cubicBezTo>
                  <a:cubicBezTo>
                    <a:pt x="1185" y="42"/>
                    <a:pt x="1187" y="44"/>
                    <a:pt x="1190" y="46"/>
                  </a:cubicBezTo>
                  <a:cubicBezTo>
                    <a:pt x="1176" y="44"/>
                    <a:pt x="1163" y="34"/>
                    <a:pt x="1149" y="38"/>
                  </a:cubicBezTo>
                  <a:cubicBezTo>
                    <a:pt x="1153" y="40"/>
                    <a:pt x="1156" y="40"/>
                    <a:pt x="1159" y="42"/>
                  </a:cubicBezTo>
                  <a:cubicBezTo>
                    <a:pt x="1149" y="43"/>
                    <a:pt x="1137" y="42"/>
                    <a:pt x="1133" y="43"/>
                  </a:cubicBezTo>
                  <a:cubicBezTo>
                    <a:pt x="1134" y="43"/>
                    <a:pt x="1134" y="43"/>
                    <a:pt x="1134" y="44"/>
                  </a:cubicBezTo>
                  <a:cubicBezTo>
                    <a:pt x="1129" y="45"/>
                    <a:pt x="1128" y="38"/>
                    <a:pt x="1123" y="41"/>
                  </a:cubicBezTo>
                  <a:cubicBezTo>
                    <a:pt x="1128" y="43"/>
                    <a:pt x="1130" y="44"/>
                    <a:pt x="1134" y="48"/>
                  </a:cubicBezTo>
                  <a:cubicBezTo>
                    <a:pt x="1134" y="49"/>
                    <a:pt x="1133" y="50"/>
                    <a:pt x="1132" y="51"/>
                  </a:cubicBezTo>
                  <a:cubicBezTo>
                    <a:pt x="1122" y="41"/>
                    <a:pt x="1110" y="28"/>
                    <a:pt x="1092" y="32"/>
                  </a:cubicBezTo>
                  <a:cubicBezTo>
                    <a:pt x="1084" y="33"/>
                    <a:pt x="1075" y="30"/>
                    <a:pt x="1069" y="33"/>
                  </a:cubicBezTo>
                  <a:cubicBezTo>
                    <a:pt x="1071" y="34"/>
                    <a:pt x="1075" y="34"/>
                    <a:pt x="1077" y="36"/>
                  </a:cubicBezTo>
                  <a:cubicBezTo>
                    <a:pt x="1073" y="36"/>
                    <a:pt x="1080" y="39"/>
                    <a:pt x="1076" y="41"/>
                  </a:cubicBezTo>
                  <a:cubicBezTo>
                    <a:pt x="1073" y="41"/>
                    <a:pt x="1073" y="39"/>
                    <a:pt x="1069" y="39"/>
                  </a:cubicBezTo>
                  <a:cubicBezTo>
                    <a:pt x="1069" y="44"/>
                    <a:pt x="1063" y="43"/>
                    <a:pt x="1064" y="47"/>
                  </a:cubicBezTo>
                  <a:cubicBezTo>
                    <a:pt x="1065" y="53"/>
                    <a:pt x="1072" y="50"/>
                    <a:pt x="1074" y="57"/>
                  </a:cubicBezTo>
                  <a:cubicBezTo>
                    <a:pt x="1068" y="57"/>
                    <a:pt x="1065" y="56"/>
                    <a:pt x="1062" y="59"/>
                  </a:cubicBezTo>
                  <a:cubicBezTo>
                    <a:pt x="1067" y="66"/>
                    <a:pt x="1081" y="64"/>
                    <a:pt x="1088" y="69"/>
                  </a:cubicBezTo>
                  <a:cubicBezTo>
                    <a:pt x="1080" y="69"/>
                    <a:pt x="1076" y="66"/>
                    <a:pt x="1068" y="66"/>
                  </a:cubicBezTo>
                  <a:cubicBezTo>
                    <a:pt x="1070" y="70"/>
                    <a:pt x="1066" y="68"/>
                    <a:pt x="1065" y="70"/>
                  </a:cubicBezTo>
                  <a:cubicBezTo>
                    <a:pt x="1066" y="72"/>
                    <a:pt x="1072" y="73"/>
                    <a:pt x="1070" y="74"/>
                  </a:cubicBezTo>
                  <a:cubicBezTo>
                    <a:pt x="1063" y="73"/>
                    <a:pt x="1059" y="64"/>
                    <a:pt x="1052" y="66"/>
                  </a:cubicBezTo>
                  <a:cubicBezTo>
                    <a:pt x="1056" y="67"/>
                    <a:pt x="1057" y="70"/>
                    <a:pt x="1058" y="74"/>
                  </a:cubicBezTo>
                  <a:cubicBezTo>
                    <a:pt x="1073" y="77"/>
                    <a:pt x="1082" y="94"/>
                    <a:pt x="1098" y="88"/>
                  </a:cubicBezTo>
                  <a:cubicBezTo>
                    <a:pt x="1098" y="91"/>
                    <a:pt x="1095" y="90"/>
                    <a:pt x="1096" y="93"/>
                  </a:cubicBezTo>
                  <a:cubicBezTo>
                    <a:pt x="1104" y="97"/>
                    <a:pt x="1113" y="103"/>
                    <a:pt x="1113" y="112"/>
                  </a:cubicBezTo>
                  <a:cubicBezTo>
                    <a:pt x="1108" y="111"/>
                    <a:pt x="1100" y="114"/>
                    <a:pt x="1098" y="110"/>
                  </a:cubicBezTo>
                  <a:cubicBezTo>
                    <a:pt x="1101" y="110"/>
                    <a:pt x="1103" y="108"/>
                    <a:pt x="1105" y="107"/>
                  </a:cubicBezTo>
                  <a:cubicBezTo>
                    <a:pt x="1101" y="101"/>
                    <a:pt x="1099" y="93"/>
                    <a:pt x="1087" y="94"/>
                  </a:cubicBezTo>
                  <a:cubicBezTo>
                    <a:pt x="1083" y="92"/>
                    <a:pt x="1081" y="89"/>
                    <a:pt x="1077" y="86"/>
                  </a:cubicBezTo>
                  <a:cubicBezTo>
                    <a:pt x="1071" y="83"/>
                    <a:pt x="1063" y="81"/>
                    <a:pt x="1057" y="77"/>
                  </a:cubicBezTo>
                  <a:cubicBezTo>
                    <a:pt x="1050" y="72"/>
                    <a:pt x="1045" y="64"/>
                    <a:pt x="1031" y="66"/>
                  </a:cubicBezTo>
                  <a:cubicBezTo>
                    <a:pt x="1031" y="71"/>
                    <a:pt x="1040" y="73"/>
                    <a:pt x="1038" y="81"/>
                  </a:cubicBezTo>
                  <a:cubicBezTo>
                    <a:pt x="1046" y="82"/>
                    <a:pt x="1050" y="87"/>
                    <a:pt x="1055" y="91"/>
                  </a:cubicBezTo>
                  <a:cubicBezTo>
                    <a:pt x="1061" y="91"/>
                    <a:pt x="1070" y="92"/>
                    <a:pt x="1073" y="98"/>
                  </a:cubicBezTo>
                  <a:cubicBezTo>
                    <a:pt x="1055" y="95"/>
                    <a:pt x="1045" y="90"/>
                    <a:pt x="1026" y="91"/>
                  </a:cubicBezTo>
                  <a:cubicBezTo>
                    <a:pt x="1025" y="96"/>
                    <a:pt x="1033" y="94"/>
                    <a:pt x="1033" y="99"/>
                  </a:cubicBezTo>
                  <a:cubicBezTo>
                    <a:pt x="1030" y="99"/>
                    <a:pt x="1036" y="102"/>
                    <a:pt x="1032" y="102"/>
                  </a:cubicBezTo>
                  <a:cubicBezTo>
                    <a:pt x="1028" y="102"/>
                    <a:pt x="1030" y="96"/>
                    <a:pt x="1025" y="97"/>
                  </a:cubicBezTo>
                  <a:cubicBezTo>
                    <a:pt x="1022" y="104"/>
                    <a:pt x="1011" y="98"/>
                    <a:pt x="1008" y="106"/>
                  </a:cubicBezTo>
                  <a:cubicBezTo>
                    <a:pt x="1001" y="107"/>
                    <a:pt x="1004" y="99"/>
                    <a:pt x="999" y="99"/>
                  </a:cubicBezTo>
                  <a:cubicBezTo>
                    <a:pt x="994" y="105"/>
                    <a:pt x="978" y="105"/>
                    <a:pt x="979" y="117"/>
                  </a:cubicBezTo>
                  <a:cubicBezTo>
                    <a:pt x="974" y="119"/>
                    <a:pt x="964" y="118"/>
                    <a:pt x="964" y="111"/>
                  </a:cubicBezTo>
                  <a:cubicBezTo>
                    <a:pt x="971" y="111"/>
                    <a:pt x="971" y="111"/>
                    <a:pt x="971" y="111"/>
                  </a:cubicBezTo>
                  <a:cubicBezTo>
                    <a:pt x="968" y="105"/>
                    <a:pt x="960" y="104"/>
                    <a:pt x="950" y="105"/>
                  </a:cubicBezTo>
                  <a:cubicBezTo>
                    <a:pt x="953" y="108"/>
                    <a:pt x="958" y="109"/>
                    <a:pt x="956" y="116"/>
                  </a:cubicBezTo>
                  <a:cubicBezTo>
                    <a:pt x="959" y="119"/>
                    <a:pt x="967" y="118"/>
                    <a:pt x="966" y="125"/>
                  </a:cubicBezTo>
                  <a:cubicBezTo>
                    <a:pt x="961" y="127"/>
                    <a:pt x="959" y="121"/>
                    <a:pt x="953" y="122"/>
                  </a:cubicBezTo>
                  <a:cubicBezTo>
                    <a:pt x="951" y="127"/>
                    <a:pt x="945" y="128"/>
                    <a:pt x="943" y="133"/>
                  </a:cubicBezTo>
                  <a:cubicBezTo>
                    <a:pt x="945" y="136"/>
                    <a:pt x="951" y="136"/>
                    <a:pt x="952" y="141"/>
                  </a:cubicBezTo>
                  <a:cubicBezTo>
                    <a:pt x="942" y="142"/>
                    <a:pt x="937" y="138"/>
                    <a:pt x="930" y="135"/>
                  </a:cubicBezTo>
                  <a:cubicBezTo>
                    <a:pt x="929" y="136"/>
                    <a:pt x="928" y="138"/>
                    <a:pt x="926" y="138"/>
                  </a:cubicBezTo>
                  <a:cubicBezTo>
                    <a:pt x="927" y="144"/>
                    <a:pt x="935" y="143"/>
                    <a:pt x="939" y="146"/>
                  </a:cubicBezTo>
                  <a:cubicBezTo>
                    <a:pt x="932" y="152"/>
                    <a:pt x="927" y="141"/>
                    <a:pt x="917" y="144"/>
                  </a:cubicBezTo>
                  <a:cubicBezTo>
                    <a:pt x="916" y="138"/>
                    <a:pt x="912" y="137"/>
                    <a:pt x="914" y="131"/>
                  </a:cubicBezTo>
                  <a:cubicBezTo>
                    <a:pt x="908" y="127"/>
                    <a:pt x="897" y="126"/>
                    <a:pt x="894" y="119"/>
                  </a:cubicBezTo>
                  <a:cubicBezTo>
                    <a:pt x="908" y="124"/>
                    <a:pt x="935" y="135"/>
                    <a:pt x="948" y="122"/>
                  </a:cubicBezTo>
                  <a:cubicBezTo>
                    <a:pt x="937" y="105"/>
                    <a:pt x="911" y="105"/>
                    <a:pt x="888" y="100"/>
                  </a:cubicBezTo>
                  <a:cubicBezTo>
                    <a:pt x="888" y="98"/>
                    <a:pt x="889" y="98"/>
                    <a:pt x="889" y="96"/>
                  </a:cubicBezTo>
                  <a:cubicBezTo>
                    <a:pt x="886" y="97"/>
                    <a:pt x="885" y="94"/>
                    <a:pt x="882" y="95"/>
                  </a:cubicBezTo>
                  <a:cubicBezTo>
                    <a:pt x="882" y="98"/>
                    <a:pt x="874" y="99"/>
                    <a:pt x="872" y="97"/>
                  </a:cubicBezTo>
                  <a:cubicBezTo>
                    <a:pt x="873" y="95"/>
                    <a:pt x="876" y="96"/>
                    <a:pt x="877" y="93"/>
                  </a:cubicBezTo>
                  <a:cubicBezTo>
                    <a:pt x="874" y="91"/>
                    <a:pt x="870" y="90"/>
                    <a:pt x="866" y="89"/>
                  </a:cubicBezTo>
                  <a:cubicBezTo>
                    <a:pt x="864" y="89"/>
                    <a:pt x="865" y="93"/>
                    <a:pt x="862" y="93"/>
                  </a:cubicBezTo>
                  <a:cubicBezTo>
                    <a:pt x="864" y="90"/>
                    <a:pt x="862" y="88"/>
                    <a:pt x="858" y="87"/>
                  </a:cubicBezTo>
                  <a:cubicBezTo>
                    <a:pt x="855" y="88"/>
                    <a:pt x="858" y="94"/>
                    <a:pt x="854" y="93"/>
                  </a:cubicBezTo>
                  <a:cubicBezTo>
                    <a:pt x="852" y="93"/>
                    <a:pt x="853" y="90"/>
                    <a:pt x="852" y="90"/>
                  </a:cubicBezTo>
                  <a:cubicBezTo>
                    <a:pt x="851" y="92"/>
                    <a:pt x="848" y="96"/>
                    <a:pt x="847" y="94"/>
                  </a:cubicBezTo>
                  <a:cubicBezTo>
                    <a:pt x="847" y="91"/>
                    <a:pt x="851" y="91"/>
                    <a:pt x="851" y="87"/>
                  </a:cubicBezTo>
                  <a:cubicBezTo>
                    <a:pt x="844" y="88"/>
                    <a:pt x="840" y="91"/>
                    <a:pt x="836" y="94"/>
                  </a:cubicBezTo>
                  <a:cubicBezTo>
                    <a:pt x="828" y="94"/>
                    <a:pt x="826" y="96"/>
                    <a:pt x="821" y="100"/>
                  </a:cubicBezTo>
                  <a:cubicBezTo>
                    <a:pt x="820" y="100"/>
                    <a:pt x="820" y="98"/>
                    <a:pt x="820" y="97"/>
                  </a:cubicBezTo>
                  <a:cubicBezTo>
                    <a:pt x="816" y="96"/>
                    <a:pt x="816" y="100"/>
                    <a:pt x="813" y="101"/>
                  </a:cubicBezTo>
                  <a:cubicBezTo>
                    <a:pt x="814" y="98"/>
                    <a:pt x="816" y="97"/>
                    <a:pt x="812" y="95"/>
                  </a:cubicBezTo>
                  <a:cubicBezTo>
                    <a:pt x="808" y="104"/>
                    <a:pt x="800" y="109"/>
                    <a:pt x="790" y="111"/>
                  </a:cubicBezTo>
                  <a:cubicBezTo>
                    <a:pt x="789" y="114"/>
                    <a:pt x="793" y="115"/>
                    <a:pt x="790" y="115"/>
                  </a:cubicBezTo>
                  <a:cubicBezTo>
                    <a:pt x="779" y="120"/>
                    <a:pt x="771" y="128"/>
                    <a:pt x="766" y="139"/>
                  </a:cubicBezTo>
                  <a:cubicBezTo>
                    <a:pt x="759" y="142"/>
                    <a:pt x="752" y="144"/>
                    <a:pt x="747" y="150"/>
                  </a:cubicBezTo>
                  <a:cubicBezTo>
                    <a:pt x="735" y="145"/>
                    <a:pt x="734" y="160"/>
                    <a:pt x="722" y="159"/>
                  </a:cubicBezTo>
                  <a:cubicBezTo>
                    <a:pt x="721" y="162"/>
                    <a:pt x="726" y="162"/>
                    <a:pt x="723" y="163"/>
                  </a:cubicBezTo>
                  <a:cubicBezTo>
                    <a:pt x="715" y="161"/>
                    <a:pt x="709" y="166"/>
                    <a:pt x="708" y="174"/>
                  </a:cubicBezTo>
                  <a:cubicBezTo>
                    <a:pt x="708" y="176"/>
                    <a:pt x="713" y="173"/>
                    <a:pt x="714" y="176"/>
                  </a:cubicBezTo>
                  <a:cubicBezTo>
                    <a:pt x="705" y="176"/>
                    <a:pt x="705" y="176"/>
                    <a:pt x="705" y="176"/>
                  </a:cubicBezTo>
                  <a:cubicBezTo>
                    <a:pt x="707" y="179"/>
                    <a:pt x="704" y="183"/>
                    <a:pt x="706" y="186"/>
                  </a:cubicBezTo>
                  <a:cubicBezTo>
                    <a:pt x="704" y="189"/>
                    <a:pt x="700" y="189"/>
                    <a:pt x="699" y="193"/>
                  </a:cubicBezTo>
                  <a:cubicBezTo>
                    <a:pt x="702" y="193"/>
                    <a:pt x="705" y="193"/>
                    <a:pt x="705" y="196"/>
                  </a:cubicBezTo>
                  <a:cubicBezTo>
                    <a:pt x="705" y="199"/>
                    <a:pt x="698" y="196"/>
                    <a:pt x="698" y="200"/>
                  </a:cubicBezTo>
                  <a:cubicBezTo>
                    <a:pt x="707" y="222"/>
                    <a:pt x="728" y="200"/>
                    <a:pt x="741" y="196"/>
                  </a:cubicBezTo>
                  <a:cubicBezTo>
                    <a:pt x="749" y="204"/>
                    <a:pt x="742" y="220"/>
                    <a:pt x="752" y="229"/>
                  </a:cubicBezTo>
                  <a:cubicBezTo>
                    <a:pt x="747" y="233"/>
                    <a:pt x="752" y="236"/>
                    <a:pt x="751" y="243"/>
                  </a:cubicBezTo>
                  <a:cubicBezTo>
                    <a:pt x="754" y="244"/>
                    <a:pt x="759" y="244"/>
                    <a:pt x="763" y="244"/>
                  </a:cubicBezTo>
                  <a:cubicBezTo>
                    <a:pt x="765" y="235"/>
                    <a:pt x="771" y="232"/>
                    <a:pt x="781" y="235"/>
                  </a:cubicBezTo>
                  <a:cubicBezTo>
                    <a:pt x="785" y="227"/>
                    <a:pt x="791" y="216"/>
                    <a:pt x="790" y="206"/>
                  </a:cubicBezTo>
                  <a:cubicBezTo>
                    <a:pt x="799" y="203"/>
                    <a:pt x="805" y="201"/>
                    <a:pt x="810" y="192"/>
                  </a:cubicBezTo>
                  <a:cubicBezTo>
                    <a:pt x="807" y="187"/>
                    <a:pt x="804" y="183"/>
                    <a:pt x="797" y="182"/>
                  </a:cubicBezTo>
                  <a:cubicBezTo>
                    <a:pt x="794" y="175"/>
                    <a:pt x="798" y="173"/>
                    <a:pt x="800" y="170"/>
                  </a:cubicBezTo>
                  <a:cubicBezTo>
                    <a:pt x="802" y="166"/>
                    <a:pt x="800" y="162"/>
                    <a:pt x="803" y="159"/>
                  </a:cubicBezTo>
                  <a:cubicBezTo>
                    <a:pt x="807" y="155"/>
                    <a:pt x="816" y="157"/>
                    <a:pt x="822" y="153"/>
                  </a:cubicBezTo>
                  <a:cubicBezTo>
                    <a:pt x="828" y="148"/>
                    <a:pt x="827" y="141"/>
                    <a:pt x="830" y="133"/>
                  </a:cubicBezTo>
                  <a:cubicBezTo>
                    <a:pt x="838" y="131"/>
                    <a:pt x="850" y="130"/>
                    <a:pt x="852" y="138"/>
                  </a:cubicBezTo>
                  <a:cubicBezTo>
                    <a:pt x="844" y="146"/>
                    <a:pt x="835" y="152"/>
                    <a:pt x="827" y="158"/>
                  </a:cubicBezTo>
                  <a:cubicBezTo>
                    <a:pt x="825" y="167"/>
                    <a:pt x="830" y="173"/>
                    <a:pt x="828" y="182"/>
                  </a:cubicBezTo>
                  <a:cubicBezTo>
                    <a:pt x="841" y="199"/>
                    <a:pt x="865" y="184"/>
                    <a:pt x="883" y="183"/>
                  </a:cubicBezTo>
                  <a:cubicBezTo>
                    <a:pt x="886" y="185"/>
                    <a:pt x="888" y="187"/>
                    <a:pt x="891" y="189"/>
                  </a:cubicBezTo>
                  <a:cubicBezTo>
                    <a:pt x="889" y="192"/>
                    <a:pt x="883" y="192"/>
                    <a:pt x="882" y="196"/>
                  </a:cubicBezTo>
                  <a:cubicBezTo>
                    <a:pt x="869" y="188"/>
                    <a:pt x="830" y="199"/>
                    <a:pt x="854" y="209"/>
                  </a:cubicBezTo>
                  <a:cubicBezTo>
                    <a:pt x="852" y="215"/>
                    <a:pt x="855" y="217"/>
                    <a:pt x="855" y="224"/>
                  </a:cubicBezTo>
                  <a:cubicBezTo>
                    <a:pt x="844" y="226"/>
                    <a:pt x="846" y="216"/>
                    <a:pt x="840" y="215"/>
                  </a:cubicBezTo>
                  <a:cubicBezTo>
                    <a:pt x="827" y="212"/>
                    <a:pt x="823" y="237"/>
                    <a:pt x="829" y="248"/>
                  </a:cubicBezTo>
                  <a:cubicBezTo>
                    <a:pt x="826" y="251"/>
                    <a:pt x="821" y="247"/>
                    <a:pt x="816" y="250"/>
                  </a:cubicBezTo>
                  <a:cubicBezTo>
                    <a:pt x="814" y="251"/>
                    <a:pt x="818" y="256"/>
                    <a:pt x="814" y="256"/>
                  </a:cubicBezTo>
                  <a:cubicBezTo>
                    <a:pt x="807" y="258"/>
                    <a:pt x="806" y="253"/>
                    <a:pt x="802" y="251"/>
                  </a:cubicBezTo>
                  <a:cubicBezTo>
                    <a:pt x="785" y="249"/>
                    <a:pt x="782" y="260"/>
                    <a:pt x="766" y="259"/>
                  </a:cubicBezTo>
                  <a:cubicBezTo>
                    <a:pt x="765" y="261"/>
                    <a:pt x="762" y="262"/>
                    <a:pt x="761" y="265"/>
                  </a:cubicBezTo>
                  <a:cubicBezTo>
                    <a:pt x="754" y="254"/>
                    <a:pt x="741" y="255"/>
                    <a:pt x="729" y="260"/>
                  </a:cubicBezTo>
                  <a:cubicBezTo>
                    <a:pt x="728" y="257"/>
                    <a:pt x="733" y="255"/>
                    <a:pt x="730" y="253"/>
                  </a:cubicBezTo>
                  <a:cubicBezTo>
                    <a:pt x="710" y="255"/>
                    <a:pt x="726" y="232"/>
                    <a:pt x="734" y="228"/>
                  </a:cubicBezTo>
                  <a:cubicBezTo>
                    <a:pt x="734" y="226"/>
                    <a:pt x="728" y="229"/>
                    <a:pt x="730" y="226"/>
                  </a:cubicBezTo>
                  <a:cubicBezTo>
                    <a:pt x="731" y="221"/>
                    <a:pt x="736" y="220"/>
                    <a:pt x="734" y="215"/>
                  </a:cubicBezTo>
                  <a:cubicBezTo>
                    <a:pt x="726" y="214"/>
                    <a:pt x="726" y="222"/>
                    <a:pt x="720" y="223"/>
                  </a:cubicBezTo>
                  <a:cubicBezTo>
                    <a:pt x="721" y="221"/>
                    <a:pt x="720" y="219"/>
                    <a:pt x="718" y="219"/>
                  </a:cubicBezTo>
                  <a:cubicBezTo>
                    <a:pt x="717" y="220"/>
                    <a:pt x="715" y="222"/>
                    <a:pt x="714" y="223"/>
                  </a:cubicBezTo>
                  <a:cubicBezTo>
                    <a:pt x="713" y="226"/>
                    <a:pt x="717" y="224"/>
                    <a:pt x="715" y="227"/>
                  </a:cubicBezTo>
                  <a:cubicBezTo>
                    <a:pt x="712" y="226"/>
                    <a:pt x="709" y="229"/>
                    <a:pt x="708" y="231"/>
                  </a:cubicBezTo>
                  <a:cubicBezTo>
                    <a:pt x="708" y="231"/>
                    <a:pt x="708" y="247"/>
                    <a:pt x="708" y="247"/>
                  </a:cubicBezTo>
                  <a:cubicBezTo>
                    <a:pt x="708" y="250"/>
                    <a:pt x="711" y="251"/>
                    <a:pt x="711" y="253"/>
                  </a:cubicBezTo>
                  <a:cubicBezTo>
                    <a:pt x="710" y="260"/>
                    <a:pt x="706" y="261"/>
                    <a:pt x="701" y="266"/>
                  </a:cubicBezTo>
                  <a:cubicBezTo>
                    <a:pt x="699" y="264"/>
                    <a:pt x="697" y="261"/>
                    <a:pt x="692" y="262"/>
                  </a:cubicBezTo>
                  <a:cubicBezTo>
                    <a:pt x="690" y="263"/>
                    <a:pt x="691" y="267"/>
                    <a:pt x="689" y="267"/>
                  </a:cubicBezTo>
                  <a:cubicBezTo>
                    <a:pt x="658" y="260"/>
                    <a:pt x="655" y="300"/>
                    <a:pt x="622" y="295"/>
                  </a:cubicBezTo>
                  <a:cubicBezTo>
                    <a:pt x="624" y="289"/>
                    <a:pt x="622" y="290"/>
                    <a:pt x="619" y="287"/>
                  </a:cubicBezTo>
                  <a:cubicBezTo>
                    <a:pt x="624" y="281"/>
                    <a:pt x="635" y="282"/>
                    <a:pt x="635" y="272"/>
                  </a:cubicBezTo>
                  <a:cubicBezTo>
                    <a:pt x="632" y="268"/>
                    <a:pt x="626" y="267"/>
                    <a:pt x="621" y="270"/>
                  </a:cubicBezTo>
                  <a:cubicBezTo>
                    <a:pt x="626" y="261"/>
                    <a:pt x="625" y="249"/>
                    <a:pt x="618" y="242"/>
                  </a:cubicBezTo>
                  <a:cubicBezTo>
                    <a:pt x="620" y="240"/>
                    <a:pt x="621" y="236"/>
                    <a:pt x="622" y="234"/>
                  </a:cubicBezTo>
                  <a:cubicBezTo>
                    <a:pt x="621" y="231"/>
                    <a:pt x="619" y="228"/>
                    <a:pt x="616" y="227"/>
                  </a:cubicBezTo>
                  <a:cubicBezTo>
                    <a:pt x="622" y="221"/>
                    <a:pt x="630" y="217"/>
                    <a:pt x="634" y="209"/>
                  </a:cubicBezTo>
                  <a:cubicBezTo>
                    <a:pt x="629" y="208"/>
                    <a:pt x="623" y="208"/>
                    <a:pt x="618" y="206"/>
                  </a:cubicBezTo>
                  <a:cubicBezTo>
                    <a:pt x="622" y="203"/>
                    <a:pt x="629" y="203"/>
                    <a:pt x="629" y="197"/>
                  </a:cubicBezTo>
                  <a:cubicBezTo>
                    <a:pt x="623" y="197"/>
                    <a:pt x="620" y="198"/>
                    <a:pt x="615" y="197"/>
                  </a:cubicBezTo>
                  <a:cubicBezTo>
                    <a:pt x="610" y="200"/>
                    <a:pt x="608" y="205"/>
                    <a:pt x="602" y="206"/>
                  </a:cubicBezTo>
                  <a:cubicBezTo>
                    <a:pt x="604" y="217"/>
                    <a:pt x="593" y="215"/>
                    <a:pt x="591" y="222"/>
                  </a:cubicBezTo>
                  <a:cubicBezTo>
                    <a:pt x="592" y="225"/>
                    <a:pt x="595" y="217"/>
                    <a:pt x="596" y="221"/>
                  </a:cubicBezTo>
                  <a:cubicBezTo>
                    <a:pt x="592" y="222"/>
                    <a:pt x="592" y="228"/>
                    <a:pt x="589" y="230"/>
                  </a:cubicBezTo>
                  <a:cubicBezTo>
                    <a:pt x="589" y="227"/>
                    <a:pt x="587" y="226"/>
                    <a:pt x="583" y="228"/>
                  </a:cubicBezTo>
                  <a:cubicBezTo>
                    <a:pt x="586" y="231"/>
                    <a:pt x="586" y="232"/>
                    <a:pt x="586" y="235"/>
                  </a:cubicBezTo>
                  <a:cubicBezTo>
                    <a:pt x="588" y="233"/>
                    <a:pt x="590" y="232"/>
                    <a:pt x="593" y="234"/>
                  </a:cubicBezTo>
                  <a:cubicBezTo>
                    <a:pt x="591" y="237"/>
                    <a:pt x="587" y="237"/>
                    <a:pt x="587" y="242"/>
                  </a:cubicBezTo>
                  <a:cubicBezTo>
                    <a:pt x="590" y="244"/>
                    <a:pt x="600" y="240"/>
                    <a:pt x="602" y="241"/>
                  </a:cubicBezTo>
                  <a:cubicBezTo>
                    <a:pt x="601" y="243"/>
                    <a:pt x="597" y="243"/>
                    <a:pt x="597" y="248"/>
                  </a:cubicBezTo>
                  <a:cubicBezTo>
                    <a:pt x="597" y="250"/>
                    <a:pt x="601" y="249"/>
                    <a:pt x="601" y="252"/>
                  </a:cubicBezTo>
                  <a:cubicBezTo>
                    <a:pt x="598" y="255"/>
                    <a:pt x="597" y="260"/>
                    <a:pt x="593" y="262"/>
                  </a:cubicBezTo>
                  <a:cubicBezTo>
                    <a:pt x="589" y="260"/>
                    <a:pt x="585" y="259"/>
                    <a:pt x="580" y="259"/>
                  </a:cubicBezTo>
                  <a:cubicBezTo>
                    <a:pt x="580" y="262"/>
                    <a:pt x="578" y="263"/>
                    <a:pt x="576" y="266"/>
                  </a:cubicBezTo>
                  <a:cubicBezTo>
                    <a:pt x="578" y="266"/>
                    <a:pt x="580" y="266"/>
                    <a:pt x="581" y="268"/>
                  </a:cubicBezTo>
                  <a:cubicBezTo>
                    <a:pt x="579" y="276"/>
                    <a:pt x="565" y="272"/>
                    <a:pt x="565" y="282"/>
                  </a:cubicBezTo>
                  <a:cubicBezTo>
                    <a:pt x="572" y="279"/>
                    <a:pt x="575" y="286"/>
                    <a:pt x="581" y="287"/>
                  </a:cubicBezTo>
                  <a:cubicBezTo>
                    <a:pt x="565" y="287"/>
                    <a:pt x="557" y="295"/>
                    <a:pt x="547" y="303"/>
                  </a:cubicBezTo>
                  <a:cubicBezTo>
                    <a:pt x="554" y="307"/>
                    <a:pt x="560" y="294"/>
                    <a:pt x="567" y="302"/>
                  </a:cubicBezTo>
                  <a:cubicBezTo>
                    <a:pt x="571" y="301"/>
                    <a:pt x="573" y="297"/>
                    <a:pt x="577" y="296"/>
                  </a:cubicBezTo>
                  <a:cubicBezTo>
                    <a:pt x="580" y="295"/>
                    <a:pt x="578" y="299"/>
                    <a:pt x="581" y="299"/>
                  </a:cubicBezTo>
                  <a:cubicBezTo>
                    <a:pt x="594" y="297"/>
                    <a:pt x="607" y="300"/>
                    <a:pt x="621" y="295"/>
                  </a:cubicBezTo>
                  <a:cubicBezTo>
                    <a:pt x="626" y="312"/>
                    <a:pt x="603" y="306"/>
                    <a:pt x="599" y="317"/>
                  </a:cubicBezTo>
                  <a:cubicBezTo>
                    <a:pt x="595" y="317"/>
                    <a:pt x="591" y="317"/>
                    <a:pt x="589" y="316"/>
                  </a:cubicBezTo>
                  <a:cubicBezTo>
                    <a:pt x="589" y="312"/>
                    <a:pt x="588" y="309"/>
                    <a:pt x="583" y="310"/>
                  </a:cubicBezTo>
                  <a:cubicBezTo>
                    <a:pt x="588" y="324"/>
                    <a:pt x="570" y="328"/>
                    <a:pt x="562" y="320"/>
                  </a:cubicBezTo>
                  <a:cubicBezTo>
                    <a:pt x="558" y="323"/>
                    <a:pt x="549" y="320"/>
                    <a:pt x="546" y="323"/>
                  </a:cubicBezTo>
                  <a:cubicBezTo>
                    <a:pt x="549" y="328"/>
                    <a:pt x="541" y="328"/>
                    <a:pt x="542" y="332"/>
                  </a:cubicBezTo>
                  <a:cubicBezTo>
                    <a:pt x="549" y="336"/>
                    <a:pt x="557" y="338"/>
                    <a:pt x="562" y="345"/>
                  </a:cubicBezTo>
                  <a:cubicBezTo>
                    <a:pt x="559" y="351"/>
                    <a:pt x="563" y="357"/>
                    <a:pt x="567" y="361"/>
                  </a:cubicBezTo>
                  <a:cubicBezTo>
                    <a:pt x="564" y="378"/>
                    <a:pt x="554" y="391"/>
                    <a:pt x="545" y="403"/>
                  </a:cubicBezTo>
                  <a:cubicBezTo>
                    <a:pt x="534" y="401"/>
                    <a:pt x="525" y="401"/>
                    <a:pt x="516" y="400"/>
                  </a:cubicBezTo>
                  <a:cubicBezTo>
                    <a:pt x="510" y="400"/>
                    <a:pt x="509" y="396"/>
                    <a:pt x="504" y="395"/>
                  </a:cubicBezTo>
                  <a:cubicBezTo>
                    <a:pt x="493" y="391"/>
                    <a:pt x="483" y="396"/>
                    <a:pt x="479" y="389"/>
                  </a:cubicBezTo>
                  <a:cubicBezTo>
                    <a:pt x="474" y="395"/>
                    <a:pt x="462" y="393"/>
                    <a:pt x="457" y="398"/>
                  </a:cubicBezTo>
                  <a:cubicBezTo>
                    <a:pt x="460" y="407"/>
                    <a:pt x="456" y="410"/>
                    <a:pt x="454" y="414"/>
                  </a:cubicBezTo>
                  <a:cubicBezTo>
                    <a:pt x="451" y="422"/>
                    <a:pt x="449" y="431"/>
                    <a:pt x="441" y="441"/>
                  </a:cubicBezTo>
                  <a:cubicBezTo>
                    <a:pt x="435" y="448"/>
                    <a:pt x="425" y="458"/>
                    <a:pt x="425" y="465"/>
                  </a:cubicBezTo>
                  <a:cubicBezTo>
                    <a:pt x="424" y="467"/>
                    <a:pt x="427" y="471"/>
                    <a:pt x="427" y="472"/>
                  </a:cubicBezTo>
                  <a:cubicBezTo>
                    <a:pt x="428" y="481"/>
                    <a:pt x="421" y="484"/>
                    <a:pt x="418" y="493"/>
                  </a:cubicBezTo>
                  <a:cubicBezTo>
                    <a:pt x="421" y="496"/>
                    <a:pt x="427" y="495"/>
                    <a:pt x="429" y="498"/>
                  </a:cubicBezTo>
                  <a:cubicBezTo>
                    <a:pt x="433" y="497"/>
                    <a:pt x="436" y="495"/>
                    <a:pt x="441" y="495"/>
                  </a:cubicBezTo>
                  <a:cubicBezTo>
                    <a:pt x="446" y="500"/>
                    <a:pt x="447" y="504"/>
                    <a:pt x="446" y="514"/>
                  </a:cubicBezTo>
                  <a:cubicBezTo>
                    <a:pt x="451" y="521"/>
                    <a:pt x="455" y="514"/>
                    <a:pt x="462" y="512"/>
                  </a:cubicBezTo>
                  <a:cubicBezTo>
                    <a:pt x="476" y="506"/>
                    <a:pt x="489" y="512"/>
                    <a:pt x="501" y="513"/>
                  </a:cubicBezTo>
                  <a:cubicBezTo>
                    <a:pt x="508" y="507"/>
                    <a:pt x="510" y="498"/>
                    <a:pt x="523" y="499"/>
                  </a:cubicBezTo>
                  <a:cubicBezTo>
                    <a:pt x="527" y="491"/>
                    <a:pt x="532" y="485"/>
                    <a:pt x="542" y="483"/>
                  </a:cubicBezTo>
                  <a:cubicBezTo>
                    <a:pt x="543" y="476"/>
                    <a:pt x="538" y="477"/>
                    <a:pt x="538" y="471"/>
                  </a:cubicBezTo>
                  <a:cubicBezTo>
                    <a:pt x="543" y="459"/>
                    <a:pt x="557" y="456"/>
                    <a:pt x="564" y="445"/>
                  </a:cubicBezTo>
                  <a:cubicBezTo>
                    <a:pt x="578" y="441"/>
                    <a:pt x="602" y="440"/>
                    <a:pt x="596" y="421"/>
                  </a:cubicBezTo>
                  <a:cubicBezTo>
                    <a:pt x="602" y="415"/>
                    <a:pt x="607" y="408"/>
                    <a:pt x="615" y="408"/>
                  </a:cubicBezTo>
                  <a:cubicBezTo>
                    <a:pt x="616" y="408"/>
                    <a:pt x="618" y="410"/>
                    <a:pt x="621" y="411"/>
                  </a:cubicBezTo>
                  <a:cubicBezTo>
                    <a:pt x="632" y="413"/>
                    <a:pt x="631" y="419"/>
                    <a:pt x="644" y="418"/>
                  </a:cubicBezTo>
                  <a:cubicBezTo>
                    <a:pt x="645" y="409"/>
                    <a:pt x="656" y="410"/>
                    <a:pt x="664" y="407"/>
                  </a:cubicBezTo>
                  <a:cubicBezTo>
                    <a:pt x="670" y="404"/>
                    <a:pt x="672" y="399"/>
                    <a:pt x="676" y="398"/>
                  </a:cubicBezTo>
                  <a:cubicBezTo>
                    <a:pt x="687" y="398"/>
                    <a:pt x="695" y="409"/>
                    <a:pt x="692" y="422"/>
                  </a:cubicBezTo>
                  <a:cubicBezTo>
                    <a:pt x="703" y="432"/>
                    <a:pt x="715" y="440"/>
                    <a:pt x="723" y="453"/>
                  </a:cubicBezTo>
                  <a:cubicBezTo>
                    <a:pt x="731" y="453"/>
                    <a:pt x="731" y="453"/>
                    <a:pt x="731" y="453"/>
                  </a:cubicBezTo>
                  <a:cubicBezTo>
                    <a:pt x="732" y="462"/>
                    <a:pt x="745" y="458"/>
                    <a:pt x="749" y="464"/>
                  </a:cubicBezTo>
                  <a:cubicBezTo>
                    <a:pt x="748" y="468"/>
                    <a:pt x="750" y="469"/>
                    <a:pt x="751" y="472"/>
                  </a:cubicBezTo>
                  <a:cubicBezTo>
                    <a:pt x="753" y="473"/>
                    <a:pt x="757" y="473"/>
                    <a:pt x="759" y="475"/>
                  </a:cubicBezTo>
                  <a:cubicBezTo>
                    <a:pt x="760" y="481"/>
                    <a:pt x="762" y="487"/>
                    <a:pt x="764" y="491"/>
                  </a:cubicBezTo>
                  <a:cubicBezTo>
                    <a:pt x="760" y="496"/>
                    <a:pt x="760" y="503"/>
                    <a:pt x="753" y="505"/>
                  </a:cubicBezTo>
                  <a:cubicBezTo>
                    <a:pt x="751" y="505"/>
                    <a:pt x="747" y="504"/>
                    <a:pt x="743" y="504"/>
                  </a:cubicBezTo>
                  <a:cubicBezTo>
                    <a:pt x="733" y="505"/>
                    <a:pt x="728" y="509"/>
                    <a:pt x="722" y="503"/>
                  </a:cubicBezTo>
                  <a:cubicBezTo>
                    <a:pt x="718" y="506"/>
                    <a:pt x="716" y="504"/>
                    <a:pt x="710" y="504"/>
                  </a:cubicBezTo>
                  <a:cubicBezTo>
                    <a:pt x="709" y="507"/>
                    <a:pt x="707" y="508"/>
                    <a:pt x="709" y="512"/>
                  </a:cubicBezTo>
                  <a:cubicBezTo>
                    <a:pt x="717" y="512"/>
                    <a:pt x="720" y="521"/>
                    <a:pt x="727" y="524"/>
                  </a:cubicBezTo>
                  <a:cubicBezTo>
                    <a:pt x="729" y="525"/>
                    <a:pt x="732" y="523"/>
                    <a:pt x="734" y="524"/>
                  </a:cubicBezTo>
                  <a:cubicBezTo>
                    <a:pt x="738" y="526"/>
                    <a:pt x="742" y="535"/>
                    <a:pt x="748" y="530"/>
                  </a:cubicBezTo>
                  <a:cubicBezTo>
                    <a:pt x="750" y="523"/>
                    <a:pt x="746" y="512"/>
                    <a:pt x="754" y="510"/>
                  </a:cubicBezTo>
                  <a:cubicBezTo>
                    <a:pt x="768" y="513"/>
                    <a:pt x="768" y="494"/>
                    <a:pt x="780" y="492"/>
                  </a:cubicBezTo>
                  <a:cubicBezTo>
                    <a:pt x="781" y="483"/>
                    <a:pt x="773" y="483"/>
                    <a:pt x="771" y="477"/>
                  </a:cubicBezTo>
                  <a:cubicBezTo>
                    <a:pt x="774" y="474"/>
                    <a:pt x="774" y="468"/>
                    <a:pt x="779" y="467"/>
                  </a:cubicBezTo>
                  <a:cubicBezTo>
                    <a:pt x="788" y="467"/>
                    <a:pt x="791" y="482"/>
                    <a:pt x="800" y="475"/>
                  </a:cubicBezTo>
                  <a:cubicBezTo>
                    <a:pt x="796" y="458"/>
                    <a:pt x="776" y="458"/>
                    <a:pt x="764" y="449"/>
                  </a:cubicBezTo>
                  <a:cubicBezTo>
                    <a:pt x="766" y="447"/>
                    <a:pt x="768" y="446"/>
                    <a:pt x="767" y="442"/>
                  </a:cubicBezTo>
                  <a:cubicBezTo>
                    <a:pt x="757" y="440"/>
                    <a:pt x="749" y="439"/>
                    <a:pt x="743" y="433"/>
                  </a:cubicBezTo>
                  <a:cubicBezTo>
                    <a:pt x="739" y="428"/>
                    <a:pt x="739" y="420"/>
                    <a:pt x="736" y="414"/>
                  </a:cubicBezTo>
                  <a:cubicBezTo>
                    <a:pt x="731" y="406"/>
                    <a:pt x="720" y="405"/>
                    <a:pt x="720" y="395"/>
                  </a:cubicBezTo>
                  <a:cubicBezTo>
                    <a:pt x="724" y="394"/>
                    <a:pt x="725" y="389"/>
                    <a:pt x="722" y="386"/>
                  </a:cubicBezTo>
                  <a:cubicBezTo>
                    <a:pt x="726" y="383"/>
                    <a:pt x="734" y="378"/>
                    <a:pt x="740" y="381"/>
                  </a:cubicBezTo>
                  <a:cubicBezTo>
                    <a:pt x="740" y="386"/>
                    <a:pt x="736" y="388"/>
                    <a:pt x="738" y="394"/>
                  </a:cubicBezTo>
                  <a:cubicBezTo>
                    <a:pt x="744" y="394"/>
                    <a:pt x="742" y="388"/>
                    <a:pt x="748" y="390"/>
                  </a:cubicBezTo>
                  <a:cubicBezTo>
                    <a:pt x="751" y="402"/>
                    <a:pt x="761" y="406"/>
                    <a:pt x="765" y="417"/>
                  </a:cubicBezTo>
                  <a:cubicBezTo>
                    <a:pt x="770" y="416"/>
                    <a:pt x="773" y="418"/>
                    <a:pt x="777" y="418"/>
                  </a:cubicBezTo>
                  <a:cubicBezTo>
                    <a:pt x="778" y="420"/>
                    <a:pt x="778" y="423"/>
                    <a:pt x="780" y="424"/>
                  </a:cubicBezTo>
                  <a:cubicBezTo>
                    <a:pt x="795" y="428"/>
                    <a:pt x="801" y="441"/>
                    <a:pt x="814" y="446"/>
                  </a:cubicBezTo>
                  <a:cubicBezTo>
                    <a:pt x="813" y="455"/>
                    <a:pt x="811" y="463"/>
                    <a:pt x="809" y="469"/>
                  </a:cubicBezTo>
                  <a:cubicBezTo>
                    <a:pt x="811" y="473"/>
                    <a:pt x="818" y="473"/>
                    <a:pt x="817" y="481"/>
                  </a:cubicBezTo>
                  <a:cubicBezTo>
                    <a:pt x="827" y="485"/>
                    <a:pt x="831" y="496"/>
                    <a:pt x="838" y="503"/>
                  </a:cubicBezTo>
                  <a:cubicBezTo>
                    <a:pt x="841" y="504"/>
                    <a:pt x="847" y="501"/>
                    <a:pt x="847" y="505"/>
                  </a:cubicBezTo>
                  <a:cubicBezTo>
                    <a:pt x="845" y="507"/>
                    <a:pt x="840" y="506"/>
                    <a:pt x="839" y="510"/>
                  </a:cubicBezTo>
                  <a:cubicBezTo>
                    <a:pt x="843" y="516"/>
                    <a:pt x="846" y="518"/>
                    <a:pt x="844" y="529"/>
                  </a:cubicBezTo>
                  <a:cubicBezTo>
                    <a:pt x="848" y="531"/>
                    <a:pt x="851" y="529"/>
                    <a:pt x="856" y="529"/>
                  </a:cubicBezTo>
                  <a:cubicBezTo>
                    <a:pt x="856" y="531"/>
                    <a:pt x="857" y="532"/>
                    <a:pt x="858" y="535"/>
                  </a:cubicBezTo>
                  <a:cubicBezTo>
                    <a:pt x="863" y="530"/>
                    <a:pt x="865" y="538"/>
                    <a:pt x="870" y="536"/>
                  </a:cubicBezTo>
                  <a:cubicBezTo>
                    <a:pt x="870" y="528"/>
                    <a:pt x="864" y="521"/>
                    <a:pt x="864" y="516"/>
                  </a:cubicBezTo>
                  <a:cubicBezTo>
                    <a:pt x="869" y="516"/>
                    <a:pt x="868" y="521"/>
                    <a:pt x="874" y="519"/>
                  </a:cubicBezTo>
                  <a:cubicBezTo>
                    <a:pt x="873" y="511"/>
                    <a:pt x="857" y="510"/>
                    <a:pt x="852" y="503"/>
                  </a:cubicBezTo>
                  <a:cubicBezTo>
                    <a:pt x="863" y="501"/>
                    <a:pt x="870" y="511"/>
                    <a:pt x="881" y="513"/>
                  </a:cubicBezTo>
                  <a:cubicBezTo>
                    <a:pt x="883" y="510"/>
                    <a:pt x="881" y="506"/>
                    <a:pt x="880" y="504"/>
                  </a:cubicBezTo>
                  <a:cubicBezTo>
                    <a:pt x="883" y="503"/>
                    <a:pt x="886" y="502"/>
                    <a:pt x="885" y="496"/>
                  </a:cubicBezTo>
                  <a:cubicBezTo>
                    <a:pt x="881" y="496"/>
                    <a:pt x="876" y="496"/>
                    <a:pt x="873" y="493"/>
                  </a:cubicBezTo>
                  <a:cubicBezTo>
                    <a:pt x="867" y="489"/>
                    <a:pt x="860" y="474"/>
                    <a:pt x="858" y="467"/>
                  </a:cubicBezTo>
                  <a:cubicBezTo>
                    <a:pt x="864" y="469"/>
                    <a:pt x="866" y="474"/>
                    <a:pt x="872" y="476"/>
                  </a:cubicBezTo>
                  <a:cubicBezTo>
                    <a:pt x="878" y="473"/>
                    <a:pt x="872" y="463"/>
                    <a:pt x="880" y="461"/>
                  </a:cubicBezTo>
                  <a:cubicBezTo>
                    <a:pt x="884" y="461"/>
                    <a:pt x="884" y="464"/>
                    <a:pt x="887" y="465"/>
                  </a:cubicBezTo>
                  <a:cubicBezTo>
                    <a:pt x="891" y="463"/>
                    <a:pt x="891" y="459"/>
                    <a:pt x="895" y="459"/>
                  </a:cubicBezTo>
                  <a:cubicBezTo>
                    <a:pt x="900" y="461"/>
                    <a:pt x="908" y="461"/>
                    <a:pt x="908" y="467"/>
                  </a:cubicBezTo>
                  <a:cubicBezTo>
                    <a:pt x="906" y="469"/>
                    <a:pt x="900" y="468"/>
                    <a:pt x="902" y="473"/>
                  </a:cubicBezTo>
                  <a:cubicBezTo>
                    <a:pt x="906" y="477"/>
                    <a:pt x="907" y="470"/>
                    <a:pt x="911" y="470"/>
                  </a:cubicBezTo>
                  <a:cubicBezTo>
                    <a:pt x="910" y="479"/>
                    <a:pt x="910" y="484"/>
                    <a:pt x="906" y="490"/>
                  </a:cubicBezTo>
                  <a:cubicBezTo>
                    <a:pt x="910" y="490"/>
                    <a:pt x="912" y="492"/>
                    <a:pt x="916" y="492"/>
                  </a:cubicBezTo>
                  <a:cubicBezTo>
                    <a:pt x="920" y="487"/>
                    <a:pt x="914" y="487"/>
                    <a:pt x="912" y="484"/>
                  </a:cubicBezTo>
                  <a:cubicBezTo>
                    <a:pt x="922" y="483"/>
                    <a:pt x="922" y="498"/>
                    <a:pt x="923" y="502"/>
                  </a:cubicBezTo>
                  <a:cubicBezTo>
                    <a:pt x="919" y="497"/>
                    <a:pt x="915" y="497"/>
                    <a:pt x="907" y="498"/>
                  </a:cubicBezTo>
                  <a:cubicBezTo>
                    <a:pt x="907" y="504"/>
                    <a:pt x="907" y="504"/>
                    <a:pt x="907" y="504"/>
                  </a:cubicBezTo>
                  <a:cubicBezTo>
                    <a:pt x="918" y="505"/>
                    <a:pt x="933" y="506"/>
                    <a:pt x="930" y="519"/>
                  </a:cubicBezTo>
                  <a:cubicBezTo>
                    <a:pt x="936" y="523"/>
                    <a:pt x="943" y="525"/>
                    <a:pt x="946" y="531"/>
                  </a:cubicBezTo>
                  <a:cubicBezTo>
                    <a:pt x="957" y="529"/>
                    <a:pt x="965" y="543"/>
                    <a:pt x="980" y="537"/>
                  </a:cubicBezTo>
                  <a:cubicBezTo>
                    <a:pt x="978" y="524"/>
                    <a:pt x="995" y="524"/>
                    <a:pt x="1003" y="530"/>
                  </a:cubicBezTo>
                  <a:cubicBezTo>
                    <a:pt x="1006" y="532"/>
                    <a:pt x="1006" y="537"/>
                    <a:pt x="1010" y="539"/>
                  </a:cubicBezTo>
                  <a:cubicBezTo>
                    <a:pt x="1030" y="545"/>
                    <a:pt x="1038" y="516"/>
                    <a:pt x="1055" y="528"/>
                  </a:cubicBezTo>
                  <a:cubicBezTo>
                    <a:pt x="1059" y="527"/>
                    <a:pt x="1058" y="522"/>
                    <a:pt x="1063" y="522"/>
                  </a:cubicBezTo>
                  <a:cubicBezTo>
                    <a:pt x="1064" y="533"/>
                    <a:pt x="1056" y="553"/>
                    <a:pt x="1068" y="561"/>
                  </a:cubicBezTo>
                  <a:cubicBezTo>
                    <a:pt x="1054" y="576"/>
                    <a:pt x="1068" y="603"/>
                    <a:pt x="1059" y="616"/>
                  </a:cubicBezTo>
                  <a:cubicBezTo>
                    <a:pt x="1054" y="616"/>
                    <a:pt x="1054" y="616"/>
                    <a:pt x="1054" y="616"/>
                  </a:cubicBezTo>
                  <a:cubicBezTo>
                    <a:pt x="1052" y="630"/>
                    <a:pt x="1039" y="623"/>
                    <a:pt x="1027" y="625"/>
                  </a:cubicBezTo>
                  <a:cubicBezTo>
                    <a:pt x="1022" y="616"/>
                    <a:pt x="1015" y="621"/>
                    <a:pt x="1005" y="622"/>
                  </a:cubicBezTo>
                  <a:cubicBezTo>
                    <a:pt x="1002" y="622"/>
                    <a:pt x="1000" y="621"/>
                    <a:pt x="999" y="621"/>
                  </a:cubicBezTo>
                  <a:cubicBezTo>
                    <a:pt x="990" y="623"/>
                    <a:pt x="983" y="633"/>
                    <a:pt x="977" y="634"/>
                  </a:cubicBezTo>
                  <a:cubicBezTo>
                    <a:pt x="970" y="628"/>
                    <a:pt x="960" y="632"/>
                    <a:pt x="952" y="630"/>
                  </a:cubicBezTo>
                  <a:cubicBezTo>
                    <a:pt x="949" y="629"/>
                    <a:pt x="947" y="626"/>
                    <a:pt x="944" y="625"/>
                  </a:cubicBezTo>
                  <a:cubicBezTo>
                    <a:pt x="942" y="624"/>
                    <a:pt x="938" y="626"/>
                    <a:pt x="934" y="625"/>
                  </a:cubicBezTo>
                  <a:cubicBezTo>
                    <a:pt x="925" y="624"/>
                    <a:pt x="920" y="619"/>
                    <a:pt x="913" y="624"/>
                  </a:cubicBezTo>
                  <a:cubicBezTo>
                    <a:pt x="911" y="622"/>
                    <a:pt x="908" y="621"/>
                    <a:pt x="908" y="616"/>
                  </a:cubicBezTo>
                  <a:cubicBezTo>
                    <a:pt x="895" y="618"/>
                    <a:pt x="893" y="610"/>
                    <a:pt x="879" y="612"/>
                  </a:cubicBezTo>
                  <a:cubicBezTo>
                    <a:pt x="875" y="611"/>
                    <a:pt x="874" y="606"/>
                    <a:pt x="872" y="603"/>
                  </a:cubicBezTo>
                  <a:cubicBezTo>
                    <a:pt x="866" y="605"/>
                    <a:pt x="862" y="600"/>
                    <a:pt x="857" y="600"/>
                  </a:cubicBezTo>
                  <a:cubicBezTo>
                    <a:pt x="850" y="599"/>
                    <a:pt x="847" y="602"/>
                    <a:pt x="843" y="603"/>
                  </a:cubicBezTo>
                  <a:cubicBezTo>
                    <a:pt x="839" y="604"/>
                    <a:pt x="834" y="602"/>
                    <a:pt x="834" y="603"/>
                  </a:cubicBezTo>
                  <a:cubicBezTo>
                    <a:pt x="831" y="604"/>
                    <a:pt x="822" y="612"/>
                    <a:pt x="821" y="615"/>
                  </a:cubicBezTo>
                  <a:cubicBezTo>
                    <a:pt x="819" y="622"/>
                    <a:pt x="827" y="628"/>
                    <a:pt x="826" y="635"/>
                  </a:cubicBezTo>
                  <a:cubicBezTo>
                    <a:pt x="825" y="641"/>
                    <a:pt x="818" y="646"/>
                    <a:pt x="813" y="647"/>
                  </a:cubicBezTo>
                  <a:cubicBezTo>
                    <a:pt x="803" y="649"/>
                    <a:pt x="802" y="644"/>
                    <a:pt x="797" y="640"/>
                  </a:cubicBezTo>
                  <a:cubicBezTo>
                    <a:pt x="792" y="636"/>
                    <a:pt x="782" y="631"/>
                    <a:pt x="778" y="630"/>
                  </a:cubicBezTo>
                  <a:cubicBezTo>
                    <a:pt x="768" y="628"/>
                    <a:pt x="760" y="632"/>
                    <a:pt x="754" y="628"/>
                  </a:cubicBezTo>
                  <a:cubicBezTo>
                    <a:pt x="748" y="624"/>
                    <a:pt x="751" y="613"/>
                    <a:pt x="744" y="608"/>
                  </a:cubicBezTo>
                  <a:cubicBezTo>
                    <a:pt x="743" y="606"/>
                    <a:pt x="738" y="606"/>
                    <a:pt x="735" y="605"/>
                  </a:cubicBezTo>
                  <a:cubicBezTo>
                    <a:pt x="731" y="603"/>
                    <a:pt x="729" y="600"/>
                    <a:pt x="727" y="599"/>
                  </a:cubicBezTo>
                  <a:cubicBezTo>
                    <a:pt x="718" y="596"/>
                    <a:pt x="709" y="601"/>
                    <a:pt x="701" y="599"/>
                  </a:cubicBezTo>
                  <a:cubicBezTo>
                    <a:pt x="693" y="597"/>
                    <a:pt x="691" y="590"/>
                    <a:pt x="683" y="588"/>
                  </a:cubicBezTo>
                  <a:cubicBezTo>
                    <a:pt x="682" y="586"/>
                    <a:pt x="681" y="584"/>
                    <a:pt x="680" y="582"/>
                  </a:cubicBezTo>
                  <a:cubicBezTo>
                    <a:pt x="672" y="582"/>
                    <a:pt x="667" y="579"/>
                    <a:pt x="666" y="573"/>
                  </a:cubicBezTo>
                  <a:cubicBezTo>
                    <a:pt x="673" y="563"/>
                    <a:pt x="687" y="562"/>
                    <a:pt x="685" y="550"/>
                  </a:cubicBezTo>
                  <a:cubicBezTo>
                    <a:pt x="684" y="546"/>
                    <a:pt x="677" y="544"/>
                    <a:pt x="677" y="539"/>
                  </a:cubicBezTo>
                  <a:cubicBezTo>
                    <a:pt x="676" y="531"/>
                    <a:pt x="690" y="530"/>
                    <a:pt x="687" y="521"/>
                  </a:cubicBezTo>
                  <a:cubicBezTo>
                    <a:pt x="680" y="521"/>
                    <a:pt x="678" y="529"/>
                    <a:pt x="673" y="527"/>
                  </a:cubicBezTo>
                  <a:cubicBezTo>
                    <a:pt x="672" y="522"/>
                    <a:pt x="677" y="521"/>
                    <a:pt x="674" y="516"/>
                  </a:cubicBezTo>
                  <a:cubicBezTo>
                    <a:pt x="663" y="512"/>
                    <a:pt x="646" y="528"/>
                    <a:pt x="635" y="516"/>
                  </a:cubicBezTo>
                  <a:cubicBezTo>
                    <a:pt x="631" y="521"/>
                    <a:pt x="623" y="519"/>
                    <a:pt x="619" y="515"/>
                  </a:cubicBezTo>
                  <a:cubicBezTo>
                    <a:pt x="615" y="521"/>
                    <a:pt x="608" y="518"/>
                    <a:pt x="602" y="522"/>
                  </a:cubicBezTo>
                  <a:cubicBezTo>
                    <a:pt x="590" y="516"/>
                    <a:pt x="573" y="518"/>
                    <a:pt x="559" y="518"/>
                  </a:cubicBezTo>
                  <a:cubicBezTo>
                    <a:pt x="545" y="519"/>
                    <a:pt x="529" y="519"/>
                    <a:pt x="523" y="529"/>
                  </a:cubicBezTo>
                  <a:cubicBezTo>
                    <a:pt x="505" y="526"/>
                    <a:pt x="499" y="548"/>
                    <a:pt x="484" y="534"/>
                  </a:cubicBezTo>
                  <a:cubicBezTo>
                    <a:pt x="475" y="537"/>
                    <a:pt x="470" y="529"/>
                    <a:pt x="462" y="534"/>
                  </a:cubicBezTo>
                  <a:cubicBezTo>
                    <a:pt x="457" y="531"/>
                    <a:pt x="455" y="526"/>
                    <a:pt x="452" y="520"/>
                  </a:cubicBezTo>
                  <a:cubicBezTo>
                    <a:pt x="446" y="520"/>
                    <a:pt x="446" y="520"/>
                    <a:pt x="446" y="520"/>
                  </a:cubicBezTo>
                  <a:cubicBezTo>
                    <a:pt x="436" y="536"/>
                    <a:pt x="428" y="552"/>
                    <a:pt x="406" y="555"/>
                  </a:cubicBezTo>
                  <a:cubicBezTo>
                    <a:pt x="394" y="554"/>
                    <a:pt x="392" y="564"/>
                    <a:pt x="383" y="567"/>
                  </a:cubicBezTo>
                  <a:cubicBezTo>
                    <a:pt x="382" y="577"/>
                    <a:pt x="373" y="580"/>
                    <a:pt x="369" y="587"/>
                  </a:cubicBezTo>
                  <a:cubicBezTo>
                    <a:pt x="370" y="593"/>
                    <a:pt x="367" y="596"/>
                    <a:pt x="365" y="598"/>
                  </a:cubicBezTo>
                  <a:cubicBezTo>
                    <a:pt x="367" y="603"/>
                    <a:pt x="365" y="608"/>
                    <a:pt x="363" y="611"/>
                  </a:cubicBezTo>
                  <a:cubicBezTo>
                    <a:pt x="353" y="614"/>
                    <a:pt x="353" y="626"/>
                    <a:pt x="340" y="626"/>
                  </a:cubicBezTo>
                  <a:cubicBezTo>
                    <a:pt x="336" y="635"/>
                    <a:pt x="323" y="638"/>
                    <a:pt x="311" y="636"/>
                  </a:cubicBezTo>
                  <a:cubicBezTo>
                    <a:pt x="303" y="642"/>
                    <a:pt x="302" y="655"/>
                    <a:pt x="292" y="659"/>
                  </a:cubicBezTo>
                  <a:cubicBezTo>
                    <a:pt x="287" y="658"/>
                    <a:pt x="286" y="658"/>
                    <a:pt x="282" y="659"/>
                  </a:cubicBezTo>
                  <a:cubicBezTo>
                    <a:pt x="282" y="667"/>
                    <a:pt x="277" y="670"/>
                    <a:pt x="273" y="674"/>
                  </a:cubicBezTo>
                  <a:cubicBezTo>
                    <a:pt x="273" y="684"/>
                    <a:pt x="273" y="684"/>
                    <a:pt x="273" y="684"/>
                  </a:cubicBezTo>
                  <a:cubicBezTo>
                    <a:pt x="267" y="688"/>
                    <a:pt x="263" y="695"/>
                    <a:pt x="255" y="696"/>
                  </a:cubicBezTo>
                  <a:cubicBezTo>
                    <a:pt x="252" y="705"/>
                    <a:pt x="246" y="711"/>
                    <a:pt x="242" y="719"/>
                  </a:cubicBezTo>
                  <a:cubicBezTo>
                    <a:pt x="233" y="723"/>
                    <a:pt x="230" y="729"/>
                    <a:pt x="230" y="738"/>
                  </a:cubicBezTo>
                  <a:cubicBezTo>
                    <a:pt x="229" y="745"/>
                    <a:pt x="233" y="751"/>
                    <a:pt x="234" y="755"/>
                  </a:cubicBezTo>
                  <a:cubicBezTo>
                    <a:pt x="234" y="761"/>
                    <a:pt x="229" y="767"/>
                    <a:pt x="228" y="773"/>
                  </a:cubicBezTo>
                  <a:cubicBezTo>
                    <a:pt x="227" y="779"/>
                    <a:pt x="230" y="785"/>
                    <a:pt x="230" y="791"/>
                  </a:cubicBezTo>
                  <a:cubicBezTo>
                    <a:pt x="228" y="807"/>
                    <a:pt x="214" y="817"/>
                    <a:pt x="215" y="834"/>
                  </a:cubicBezTo>
                  <a:cubicBezTo>
                    <a:pt x="213" y="838"/>
                    <a:pt x="204" y="841"/>
                    <a:pt x="203" y="848"/>
                  </a:cubicBezTo>
                  <a:cubicBezTo>
                    <a:pt x="202" y="853"/>
                    <a:pt x="209" y="862"/>
                    <a:pt x="208" y="872"/>
                  </a:cubicBezTo>
                  <a:cubicBezTo>
                    <a:pt x="207" y="878"/>
                    <a:pt x="202" y="883"/>
                    <a:pt x="203" y="887"/>
                  </a:cubicBezTo>
                  <a:cubicBezTo>
                    <a:pt x="203" y="892"/>
                    <a:pt x="208" y="895"/>
                    <a:pt x="210" y="897"/>
                  </a:cubicBezTo>
                  <a:cubicBezTo>
                    <a:pt x="209" y="899"/>
                    <a:pt x="209" y="901"/>
                    <a:pt x="210" y="903"/>
                  </a:cubicBezTo>
                  <a:cubicBezTo>
                    <a:pt x="212" y="905"/>
                    <a:pt x="215" y="902"/>
                    <a:pt x="217" y="905"/>
                  </a:cubicBezTo>
                  <a:cubicBezTo>
                    <a:pt x="217" y="917"/>
                    <a:pt x="222" y="924"/>
                    <a:pt x="228" y="929"/>
                  </a:cubicBezTo>
                  <a:cubicBezTo>
                    <a:pt x="228" y="943"/>
                    <a:pt x="249" y="953"/>
                    <a:pt x="242" y="971"/>
                  </a:cubicBezTo>
                  <a:cubicBezTo>
                    <a:pt x="246" y="980"/>
                    <a:pt x="248" y="990"/>
                    <a:pt x="253" y="997"/>
                  </a:cubicBezTo>
                  <a:cubicBezTo>
                    <a:pt x="255" y="999"/>
                    <a:pt x="258" y="999"/>
                    <a:pt x="259" y="1000"/>
                  </a:cubicBezTo>
                  <a:cubicBezTo>
                    <a:pt x="265" y="1005"/>
                    <a:pt x="269" y="1015"/>
                    <a:pt x="276" y="1021"/>
                  </a:cubicBezTo>
                  <a:cubicBezTo>
                    <a:pt x="279" y="1024"/>
                    <a:pt x="281" y="1024"/>
                    <a:pt x="283" y="1027"/>
                  </a:cubicBezTo>
                  <a:cubicBezTo>
                    <a:pt x="287" y="1032"/>
                    <a:pt x="289" y="1039"/>
                    <a:pt x="293" y="1044"/>
                  </a:cubicBezTo>
                  <a:cubicBezTo>
                    <a:pt x="297" y="1048"/>
                    <a:pt x="304" y="1051"/>
                    <a:pt x="308" y="1055"/>
                  </a:cubicBezTo>
                  <a:cubicBezTo>
                    <a:pt x="312" y="1058"/>
                    <a:pt x="314" y="1062"/>
                    <a:pt x="317" y="1065"/>
                  </a:cubicBezTo>
                  <a:cubicBezTo>
                    <a:pt x="325" y="1070"/>
                    <a:pt x="331" y="1063"/>
                    <a:pt x="343" y="1062"/>
                  </a:cubicBezTo>
                  <a:cubicBezTo>
                    <a:pt x="350" y="1061"/>
                    <a:pt x="357" y="1063"/>
                    <a:pt x="363" y="1064"/>
                  </a:cubicBezTo>
                  <a:cubicBezTo>
                    <a:pt x="374" y="1064"/>
                    <a:pt x="378" y="1062"/>
                    <a:pt x="384" y="1068"/>
                  </a:cubicBezTo>
                  <a:cubicBezTo>
                    <a:pt x="387" y="1069"/>
                    <a:pt x="389" y="1068"/>
                    <a:pt x="391" y="1067"/>
                  </a:cubicBezTo>
                  <a:cubicBezTo>
                    <a:pt x="394" y="1075"/>
                    <a:pt x="405" y="1075"/>
                    <a:pt x="409" y="1082"/>
                  </a:cubicBezTo>
                  <a:cubicBezTo>
                    <a:pt x="425" y="1078"/>
                    <a:pt x="440" y="1078"/>
                    <a:pt x="452" y="1070"/>
                  </a:cubicBezTo>
                  <a:cubicBezTo>
                    <a:pt x="460" y="1078"/>
                    <a:pt x="467" y="1068"/>
                    <a:pt x="474" y="1067"/>
                  </a:cubicBezTo>
                  <a:cubicBezTo>
                    <a:pt x="477" y="1067"/>
                    <a:pt x="481" y="1070"/>
                    <a:pt x="486" y="1069"/>
                  </a:cubicBezTo>
                  <a:cubicBezTo>
                    <a:pt x="489" y="1069"/>
                    <a:pt x="491" y="1067"/>
                    <a:pt x="493" y="1067"/>
                  </a:cubicBezTo>
                  <a:cubicBezTo>
                    <a:pt x="496" y="1068"/>
                    <a:pt x="498" y="1071"/>
                    <a:pt x="501" y="1071"/>
                  </a:cubicBezTo>
                  <a:cubicBezTo>
                    <a:pt x="504" y="1072"/>
                    <a:pt x="507" y="1070"/>
                    <a:pt x="509" y="1069"/>
                  </a:cubicBezTo>
                  <a:cubicBezTo>
                    <a:pt x="525" y="1069"/>
                    <a:pt x="539" y="1084"/>
                    <a:pt x="543" y="1095"/>
                  </a:cubicBezTo>
                  <a:cubicBezTo>
                    <a:pt x="547" y="1108"/>
                    <a:pt x="548" y="1115"/>
                    <a:pt x="568" y="1113"/>
                  </a:cubicBezTo>
                  <a:cubicBezTo>
                    <a:pt x="569" y="1112"/>
                    <a:pt x="568" y="1109"/>
                    <a:pt x="571" y="1110"/>
                  </a:cubicBezTo>
                  <a:cubicBezTo>
                    <a:pt x="580" y="1109"/>
                    <a:pt x="585" y="1116"/>
                    <a:pt x="592" y="1115"/>
                  </a:cubicBezTo>
                  <a:cubicBezTo>
                    <a:pt x="597" y="1115"/>
                    <a:pt x="604" y="1108"/>
                    <a:pt x="609" y="1115"/>
                  </a:cubicBezTo>
                  <a:cubicBezTo>
                    <a:pt x="610" y="1128"/>
                    <a:pt x="627" y="1131"/>
                    <a:pt x="629" y="1141"/>
                  </a:cubicBezTo>
                  <a:cubicBezTo>
                    <a:pt x="631" y="1149"/>
                    <a:pt x="623" y="1151"/>
                    <a:pt x="625" y="1162"/>
                  </a:cubicBezTo>
                  <a:cubicBezTo>
                    <a:pt x="623" y="1165"/>
                    <a:pt x="619" y="1166"/>
                    <a:pt x="617" y="1169"/>
                  </a:cubicBezTo>
                  <a:cubicBezTo>
                    <a:pt x="618" y="1175"/>
                    <a:pt x="623" y="1177"/>
                    <a:pt x="623" y="1184"/>
                  </a:cubicBezTo>
                  <a:cubicBezTo>
                    <a:pt x="622" y="1185"/>
                    <a:pt x="619" y="1184"/>
                    <a:pt x="618" y="1186"/>
                  </a:cubicBezTo>
                  <a:cubicBezTo>
                    <a:pt x="619" y="1196"/>
                    <a:pt x="616" y="1203"/>
                    <a:pt x="607" y="1203"/>
                  </a:cubicBezTo>
                  <a:cubicBezTo>
                    <a:pt x="608" y="1210"/>
                    <a:pt x="613" y="1213"/>
                    <a:pt x="618" y="1216"/>
                  </a:cubicBezTo>
                  <a:cubicBezTo>
                    <a:pt x="619" y="1219"/>
                    <a:pt x="617" y="1219"/>
                    <a:pt x="618" y="1222"/>
                  </a:cubicBezTo>
                  <a:cubicBezTo>
                    <a:pt x="622" y="1224"/>
                    <a:pt x="625" y="1227"/>
                    <a:pt x="626" y="1233"/>
                  </a:cubicBezTo>
                  <a:cubicBezTo>
                    <a:pt x="633" y="1233"/>
                    <a:pt x="632" y="1237"/>
                    <a:pt x="635" y="1240"/>
                  </a:cubicBezTo>
                  <a:cubicBezTo>
                    <a:pt x="637" y="1243"/>
                    <a:pt x="642" y="1244"/>
                    <a:pt x="643" y="1246"/>
                  </a:cubicBezTo>
                  <a:cubicBezTo>
                    <a:pt x="646" y="1249"/>
                    <a:pt x="646" y="1252"/>
                    <a:pt x="648" y="1255"/>
                  </a:cubicBezTo>
                  <a:cubicBezTo>
                    <a:pt x="653" y="1260"/>
                    <a:pt x="661" y="1262"/>
                    <a:pt x="666" y="1267"/>
                  </a:cubicBezTo>
                  <a:cubicBezTo>
                    <a:pt x="673" y="1274"/>
                    <a:pt x="674" y="1284"/>
                    <a:pt x="681" y="1291"/>
                  </a:cubicBezTo>
                  <a:cubicBezTo>
                    <a:pt x="681" y="1294"/>
                    <a:pt x="678" y="1293"/>
                    <a:pt x="679" y="1297"/>
                  </a:cubicBezTo>
                  <a:cubicBezTo>
                    <a:pt x="682" y="1301"/>
                    <a:pt x="688" y="1303"/>
                    <a:pt x="688" y="1311"/>
                  </a:cubicBezTo>
                  <a:cubicBezTo>
                    <a:pt x="693" y="1317"/>
                    <a:pt x="701" y="1320"/>
                    <a:pt x="700" y="1331"/>
                  </a:cubicBezTo>
                  <a:cubicBezTo>
                    <a:pt x="699" y="1335"/>
                    <a:pt x="695" y="1335"/>
                    <a:pt x="694" y="1339"/>
                  </a:cubicBezTo>
                  <a:cubicBezTo>
                    <a:pt x="696" y="1352"/>
                    <a:pt x="713" y="1360"/>
                    <a:pt x="712" y="1373"/>
                  </a:cubicBezTo>
                  <a:cubicBezTo>
                    <a:pt x="711" y="1378"/>
                    <a:pt x="705" y="1379"/>
                    <a:pt x="707" y="1385"/>
                  </a:cubicBezTo>
                  <a:cubicBezTo>
                    <a:pt x="697" y="1384"/>
                    <a:pt x="698" y="1394"/>
                    <a:pt x="689" y="1393"/>
                  </a:cubicBezTo>
                  <a:cubicBezTo>
                    <a:pt x="689" y="1403"/>
                    <a:pt x="684" y="1405"/>
                    <a:pt x="687" y="1415"/>
                  </a:cubicBezTo>
                  <a:cubicBezTo>
                    <a:pt x="680" y="1417"/>
                    <a:pt x="683" y="1423"/>
                    <a:pt x="677" y="1427"/>
                  </a:cubicBezTo>
                  <a:cubicBezTo>
                    <a:pt x="679" y="1436"/>
                    <a:pt x="676" y="1443"/>
                    <a:pt x="679" y="1451"/>
                  </a:cubicBezTo>
                  <a:cubicBezTo>
                    <a:pt x="683" y="1459"/>
                    <a:pt x="695" y="1464"/>
                    <a:pt x="704" y="1475"/>
                  </a:cubicBezTo>
                  <a:cubicBezTo>
                    <a:pt x="706" y="1477"/>
                    <a:pt x="706" y="1479"/>
                    <a:pt x="708" y="1481"/>
                  </a:cubicBezTo>
                  <a:cubicBezTo>
                    <a:pt x="712" y="1487"/>
                    <a:pt x="718" y="1489"/>
                    <a:pt x="721" y="1493"/>
                  </a:cubicBezTo>
                  <a:cubicBezTo>
                    <a:pt x="722" y="1494"/>
                    <a:pt x="721" y="1496"/>
                    <a:pt x="722" y="1497"/>
                  </a:cubicBezTo>
                  <a:cubicBezTo>
                    <a:pt x="726" y="1500"/>
                    <a:pt x="731" y="1499"/>
                    <a:pt x="733" y="1503"/>
                  </a:cubicBezTo>
                  <a:cubicBezTo>
                    <a:pt x="735" y="1508"/>
                    <a:pt x="733" y="1515"/>
                    <a:pt x="735" y="1521"/>
                  </a:cubicBezTo>
                  <a:cubicBezTo>
                    <a:pt x="736" y="1524"/>
                    <a:pt x="740" y="1527"/>
                    <a:pt x="741" y="1529"/>
                  </a:cubicBezTo>
                  <a:cubicBezTo>
                    <a:pt x="742" y="1530"/>
                    <a:pt x="740" y="1533"/>
                    <a:pt x="740" y="1534"/>
                  </a:cubicBezTo>
                  <a:cubicBezTo>
                    <a:pt x="741" y="1535"/>
                    <a:pt x="744" y="1541"/>
                    <a:pt x="744" y="1542"/>
                  </a:cubicBezTo>
                  <a:cubicBezTo>
                    <a:pt x="746" y="1545"/>
                    <a:pt x="751" y="1550"/>
                    <a:pt x="753" y="1552"/>
                  </a:cubicBezTo>
                  <a:cubicBezTo>
                    <a:pt x="762" y="1563"/>
                    <a:pt x="783" y="1564"/>
                    <a:pt x="783" y="1578"/>
                  </a:cubicBezTo>
                  <a:cubicBezTo>
                    <a:pt x="788" y="1583"/>
                    <a:pt x="799" y="1582"/>
                    <a:pt x="800" y="1592"/>
                  </a:cubicBezTo>
                  <a:cubicBezTo>
                    <a:pt x="800" y="1594"/>
                    <a:pt x="797" y="1594"/>
                    <a:pt x="794" y="1594"/>
                  </a:cubicBezTo>
                  <a:cubicBezTo>
                    <a:pt x="794" y="1599"/>
                    <a:pt x="800" y="1599"/>
                    <a:pt x="801" y="1604"/>
                  </a:cubicBezTo>
                  <a:cubicBezTo>
                    <a:pt x="808" y="1602"/>
                    <a:pt x="813" y="1607"/>
                    <a:pt x="820" y="1608"/>
                  </a:cubicBezTo>
                  <a:cubicBezTo>
                    <a:pt x="833" y="1609"/>
                    <a:pt x="848" y="1604"/>
                    <a:pt x="860" y="1603"/>
                  </a:cubicBezTo>
                  <a:cubicBezTo>
                    <a:pt x="881" y="1601"/>
                    <a:pt x="902" y="1604"/>
                    <a:pt x="921" y="1600"/>
                  </a:cubicBezTo>
                  <a:cubicBezTo>
                    <a:pt x="940" y="1597"/>
                    <a:pt x="954" y="1584"/>
                    <a:pt x="970" y="1580"/>
                  </a:cubicBezTo>
                  <a:cubicBezTo>
                    <a:pt x="984" y="1576"/>
                    <a:pt x="990" y="1567"/>
                    <a:pt x="1000" y="1562"/>
                  </a:cubicBezTo>
                  <a:cubicBezTo>
                    <a:pt x="1004" y="1559"/>
                    <a:pt x="1011" y="1559"/>
                    <a:pt x="1016" y="1556"/>
                  </a:cubicBezTo>
                  <a:cubicBezTo>
                    <a:pt x="1024" y="1552"/>
                    <a:pt x="1029" y="1542"/>
                    <a:pt x="1033" y="1535"/>
                  </a:cubicBezTo>
                  <a:cubicBezTo>
                    <a:pt x="1034" y="1532"/>
                    <a:pt x="1029" y="1534"/>
                    <a:pt x="1030" y="1530"/>
                  </a:cubicBezTo>
                  <a:cubicBezTo>
                    <a:pt x="1046" y="1521"/>
                    <a:pt x="1066" y="1516"/>
                    <a:pt x="1082" y="1507"/>
                  </a:cubicBezTo>
                  <a:cubicBezTo>
                    <a:pt x="1083" y="1504"/>
                    <a:pt x="1080" y="1504"/>
                    <a:pt x="1080" y="1501"/>
                  </a:cubicBezTo>
                  <a:cubicBezTo>
                    <a:pt x="1086" y="1499"/>
                    <a:pt x="1087" y="1493"/>
                    <a:pt x="1089" y="1487"/>
                  </a:cubicBezTo>
                  <a:cubicBezTo>
                    <a:pt x="1085" y="1486"/>
                    <a:pt x="1085" y="1482"/>
                    <a:pt x="1082" y="1479"/>
                  </a:cubicBezTo>
                  <a:cubicBezTo>
                    <a:pt x="1084" y="1478"/>
                    <a:pt x="1085" y="1476"/>
                    <a:pt x="1085" y="1474"/>
                  </a:cubicBezTo>
                  <a:cubicBezTo>
                    <a:pt x="1084" y="1472"/>
                    <a:pt x="1081" y="1472"/>
                    <a:pt x="1079" y="1471"/>
                  </a:cubicBezTo>
                  <a:cubicBezTo>
                    <a:pt x="1081" y="1463"/>
                    <a:pt x="1089" y="1464"/>
                    <a:pt x="1095" y="1460"/>
                  </a:cubicBezTo>
                  <a:cubicBezTo>
                    <a:pt x="1098" y="1458"/>
                    <a:pt x="1100" y="1454"/>
                    <a:pt x="1103" y="1451"/>
                  </a:cubicBezTo>
                  <a:cubicBezTo>
                    <a:pt x="1108" y="1449"/>
                    <a:pt x="1114" y="1448"/>
                    <a:pt x="1119" y="1445"/>
                  </a:cubicBezTo>
                  <a:cubicBezTo>
                    <a:pt x="1122" y="1442"/>
                    <a:pt x="1124" y="1437"/>
                    <a:pt x="1127" y="1434"/>
                  </a:cubicBezTo>
                  <a:cubicBezTo>
                    <a:pt x="1142" y="1423"/>
                    <a:pt x="1160" y="1422"/>
                    <a:pt x="1174" y="1412"/>
                  </a:cubicBezTo>
                  <a:cubicBezTo>
                    <a:pt x="1179" y="1409"/>
                    <a:pt x="1188" y="1400"/>
                    <a:pt x="1193" y="1395"/>
                  </a:cubicBezTo>
                  <a:cubicBezTo>
                    <a:pt x="1200" y="1387"/>
                    <a:pt x="1197" y="1383"/>
                    <a:pt x="1197" y="1373"/>
                  </a:cubicBezTo>
                  <a:cubicBezTo>
                    <a:pt x="1197" y="1369"/>
                    <a:pt x="1198" y="1363"/>
                    <a:pt x="1199" y="1360"/>
                  </a:cubicBezTo>
                  <a:cubicBezTo>
                    <a:pt x="1202" y="1350"/>
                    <a:pt x="1203" y="1342"/>
                    <a:pt x="1208" y="1331"/>
                  </a:cubicBezTo>
                  <a:cubicBezTo>
                    <a:pt x="1207" y="1325"/>
                    <a:pt x="1197" y="1327"/>
                    <a:pt x="1194" y="1323"/>
                  </a:cubicBezTo>
                  <a:cubicBezTo>
                    <a:pt x="1197" y="1312"/>
                    <a:pt x="1186" y="1305"/>
                    <a:pt x="1194" y="1299"/>
                  </a:cubicBezTo>
                  <a:cubicBezTo>
                    <a:pt x="1188" y="1292"/>
                    <a:pt x="1199" y="1289"/>
                    <a:pt x="1197" y="1281"/>
                  </a:cubicBezTo>
                  <a:cubicBezTo>
                    <a:pt x="1194" y="1279"/>
                    <a:pt x="1187" y="1280"/>
                    <a:pt x="1186" y="1276"/>
                  </a:cubicBezTo>
                  <a:cubicBezTo>
                    <a:pt x="1190" y="1267"/>
                    <a:pt x="1190" y="1259"/>
                    <a:pt x="1194" y="1251"/>
                  </a:cubicBezTo>
                  <a:cubicBezTo>
                    <a:pt x="1198" y="1245"/>
                    <a:pt x="1210" y="1240"/>
                    <a:pt x="1208" y="1230"/>
                  </a:cubicBezTo>
                  <a:cubicBezTo>
                    <a:pt x="1210" y="1227"/>
                    <a:pt x="1213" y="1224"/>
                    <a:pt x="1216" y="1222"/>
                  </a:cubicBezTo>
                  <a:cubicBezTo>
                    <a:pt x="1216" y="1219"/>
                    <a:pt x="1215" y="1219"/>
                    <a:pt x="1215" y="1216"/>
                  </a:cubicBezTo>
                  <a:cubicBezTo>
                    <a:pt x="1221" y="1213"/>
                    <a:pt x="1226" y="1209"/>
                    <a:pt x="1228" y="1202"/>
                  </a:cubicBezTo>
                  <a:cubicBezTo>
                    <a:pt x="1231" y="1202"/>
                    <a:pt x="1232" y="1200"/>
                    <a:pt x="1236" y="1200"/>
                  </a:cubicBezTo>
                  <a:cubicBezTo>
                    <a:pt x="1244" y="1193"/>
                    <a:pt x="1246" y="1183"/>
                    <a:pt x="1253" y="1175"/>
                  </a:cubicBezTo>
                  <a:cubicBezTo>
                    <a:pt x="1257" y="1170"/>
                    <a:pt x="1264" y="1167"/>
                    <a:pt x="1267" y="1163"/>
                  </a:cubicBezTo>
                  <a:cubicBezTo>
                    <a:pt x="1269" y="1160"/>
                    <a:pt x="1269" y="1157"/>
                    <a:pt x="1271" y="1154"/>
                  </a:cubicBezTo>
                  <a:cubicBezTo>
                    <a:pt x="1273" y="1152"/>
                    <a:pt x="1276" y="1151"/>
                    <a:pt x="1278" y="1149"/>
                  </a:cubicBezTo>
                  <a:cubicBezTo>
                    <a:pt x="1304" y="1121"/>
                    <a:pt x="1338" y="1099"/>
                    <a:pt x="1353" y="1061"/>
                  </a:cubicBezTo>
                  <a:cubicBezTo>
                    <a:pt x="1355" y="1054"/>
                    <a:pt x="1362" y="1049"/>
                    <a:pt x="1365" y="1042"/>
                  </a:cubicBezTo>
                  <a:cubicBezTo>
                    <a:pt x="1368" y="1037"/>
                    <a:pt x="1367" y="1031"/>
                    <a:pt x="1368" y="1025"/>
                  </a:cubicBezTo>
                  <a:cubicBezTo>
                    <a:pt x="1369" y="1021"/>
                    <a:pt x="1376" y="1015"/>
                    <a:pt x="1378" y="1007"/>
                  </a:cubicBezTo>
                  <a:cubicBezTo>
                    <a:pt x="1381" y="995"/>
                    <a:pt x="1382" y="986"/>
                    <a:pt x="1388" y="981"/>
                  </a:cubicBezTo>
                  <a:cubicBezTo>
                    <a:pt x="1388" y="974"/>
                    <a:pt x="1389" y="967"/>
                    <a:pt x="1387" y="961"/>
                  </a:cubicBezTo>
                  <a:cubicBezTo>
                    <a:pt x="1388" y="958"/>
                    <a:pt x="1391" y="958"/>
                    <a:pt x="1391" y="954"/>
                  </a:cubicBezTo>
                  <a:cubicBezTo>
                    <a:pt x="1390" y="946"/>
                    <a:pt x="1389" y="937"/>
                    <a:pt x="1392" y="931"/>
                  </a:cubicBezTo>
                  <a:cubicBezTo>
                    <a:pt x="1391" y="931"/>
                    <a:pt x="1390" y="930"/>
                    <a:pt x="1389" y="928"/>
                  </a:cubicBezTo>
                  <a:cubicBezTo>
                    <a:pt x="1386" y="928"/>
                    <a:pt x="1385" y="929"/>
                    <a:pt x="1382" y="929"/>
                  </a:cubicBezTo>
                  <a:cubicBezTo>
                    <a:pt x="1378" y="948"/>
                    <a:pt x="1351" y="944"/>
                    <a:pt x="1341" y="956"/>
                  </a:cubicBezTo>
                  <a:cubicBezTo>
                    <a:pt x="1338" y="957"/>
                    <a:pt x="1339" y="954"/>
                    <a:pt x="1336" y="954"/>
                  </a:cubicBezTo>
                  <a:cubicBezTo>
                    <a:pt x="1329" y="958"/>
                    <a:pt x="1326" y="965"/>
                    <a:pt x="1319" y="969"/>
                  </a:cubicBezTo>
                  <a:cubicBezTo>
                    <a:pt x="1316" y="968"/>
                    <a:pt x="1315" y="966"/>
                    <a:pt x="1311" y="967"/>
                  </a:cubicBezTo>
                  <a:cubicBezTo>
                    <a:pt x="1301" y="972"/>
                    <a:pt x="1295" y="982"/>
                    <a:pt x="1282" y="979"/>
                  </a:cubicBezTo>
                  <a:cubicBezTo>
                    <a:pt x="1273" y="977"/>
                    <a:pt x="1270" y="964"/>
                    <a:pt x="1261" y="963"/>
                  </a:cubicBezTo>
                  <a:cubicBezTo>
                    <a:pt x="1271" y="953"/>
                    <a:pt x="1263" y="938"/>
                    <a:pt x="1248" y="938"/>
                  </a:cubicBezTo>
                  <a:cubicBezTo>
                    <a:pt x="1248" y="935"/>
                    <a:pt x="1247" y="932"/>
                    <a:pt x="1245" y="929"/>
                  </a:cubicBezTo>
                  <a:cubicBezTo>
                    <a:pt x="1239" y="930"/>
                    <a:pt x="1236" y="927"/>
                    <a:pt x="1232" y="925"/>
                  </a:cubicBezTo>
                  <a:cubicBezTo>
                    <a:pt x="1230" y="922"/>
                    <a:pt x="1230" y="916"/>
                    <a:pt x="1227" y="914"/>
                  </a:cubicBezTo>
                  <a:cubicBezTo>
                    <a:pt x="1224" y="912"/>
                    <a:pt x="1222" y="913"/>
                    <a:pt x="1218" y="914"/>
                  </a:cubicBezTo>
                  <a:cubicBezTo>
                    <a:pt x="1216" y="913"/>
                    <a:pt x="1214" y="910"/>
                    <a:pt x="1211" y="909"/>
                  </a:cubicBezTo>
                  <a:cubicBezTo>
                    <a:pt x="1200" y="909"/>
                    <a:pt x="1191" y="903"/>
                    <a:pt x="1188" y="894"/>
                  </a:cubicBezTo>
                  <a:cubicBezTo>
                    <a:pt x="1186" y="888"/>
                    <a:pt x="1188" y="882"/>
                    <a:pt x="1186" y="877"/>
                  </a:cubicBezTo>
                  <a:cubicBezTo>
                    <a:pt x="1181" y="865"/>
                    <a:pt x="1173" y="858"/>
                    <a:pt x="1162" y="853"/>
                  </a:cubicBezTo>
                  <a:cubicBezTo>
                    <a:pt x="1161" y="852"/>
                    <a:pt x="1162" y="848"/>
                    <a:pt x="1159" y="849"/>
                  </a:cubicBezTo>
                  <a:cubicBezTo>
                    <a:pt x="1156" y="846"/>
                    <a:pt x="1152" y="850"/>
                    <a:pt x="1149" y="848"/>
                  </a:cubicBezTo>
                  <a:cubicBezTo>
                    <a:pt x="1149" y="833"/>
                    <a:pt x="1138" y="819"/>
                    <a:pt x="1142" y="805"/>
                  </a:cubicBezTo>
                  <a:cubicBezTo>
                    <a:pt x="1140" y="802"/>
                    <a:pt x="1136" y="801"/>
                    <a:pt x="1135" y="797"/>
                  </a:cubicBezTo>
                  <a:cubicBezTo>
                    <a:pt x="1135" y="784"/>
                    <a:pt x="1124" y="781"/>
                    <a:pt x="1114" y="778"/>
                  </a:cubicBezTo>
                  <a:cubicBezTo>
                    <a:pt x="1108" y="772"/>
                    <a:pt x="1104" y="760"/>
                    <a:pt x="1106" y="753"/>
                  </a:cubicBezTo>
                  <a:cubicBezTo>
                    <a:pt x="1094" y="749"/>
                    <a:pt x="1092" y="733"/>
                    <a:pt x="1084" y="723"/>
                  </a:cubicBezTo>
                  <a:cubicBezTo>
                    <a:pt x="1080" y="718"/>
                    <a:pt x="1074" y="715"/>
                    <a:pt x="1072" y="709"/>
                  </a:cubicBezTo>
                  <a:cubicBezTo>
                    <a:pt x="1070" y="706"/>
                    <a:pt x="1071" y="703"/>
                    <a:pt x="1070" y="700"/>
                  </a:cubicBezTo>
                  <a:cubicBezTo>
                    <a:pt x="1067" y="695"/>
                    <a:pt x="1059" y="696"/>
                    <a:pt x="1060" y="689"/>
                  </a:cubicBezTo>
                  <a:cubicBezTo>
                    <a:pt x="1064" y="692"/>
                    <a:pt x="1066" y="696"/>
                    <a:pt x="1074" y="695"/>
                  </a:cubicBezTo>
                  <a:cubicBezTo>
                    <a:pt x="1075" y="687"/>
                    <a:pt x="1067" y="675"/>
                    <a:pt x="1074" y="670"/>
                  </a:cubicBezTo>
                  <a:cubicBezTo>
                    <a:pt x="1074" y="687"/>
                    <a:pt x="1082" y="694"/>
                    <a:pt x="1096" y="697"/>
                  </a:cubicBezTo>
                  <a:cubicBezTo>
                    <a:pt x="1099" y="702"/>
                    <a:pt x="1101" y="710"/>
                    <a:pt x="1106" y="715"/>
                  </a:cubicBezTo>
                  <a:cubicBezTo>
                    <a:pt x="1111" y="721"/>
                    <a:pt x="1117" y="722"/>
                    <a:pt x="1122" y="726"/>
                  </a:cubicBezTo>
                  <a:cubicBezTo>
                    <a:pt x="1127" y="731"/>
                    <a:pt x="1127" y="739"/>
                    <a:pt x="1131" y="746"/>
                  </a:cubicBezTo>
                  <a:cubicBezTo>
                    <a:pt x="1136" y="754"/>
                    <a:pt x="1143" y="749"/>
                    <a:pt x="1150" y="751"/>
                  </a:cubicBezTo>
                  <a:cubicBezTo>
                    <a:pt x="1174" y="756"/>
                    <a:pt x="1166" y="802"/>
                    <a:pt x="1188" y="811"/>
                  </a:cubicBezTo>
                  <a:cubicBezTo>
                    <a:pt x="1191" y="811"/>
                    <a:pt x="1193" y="810"/>
                    <a:pt x="1197" y="810"/>
                  </a:cubicBezTo>
                  <a:cubicBezTo>
                    <a:pt x="1201" y="812"/>
                    <a:pt x="1206" y="818"/>
                    <a:pt x="1210" y="823"/>
                  </a:cubicBezTo>
                  <a:cubicBezTo>
                    <a:pt x="1215" y="829"/>
                    <a:pt x="1221" y="838"/>
                    <a:pt x="1228" y="847"/>
                  </a:cubicBezTo>
                  <a:cubicBezTo>
                    <a:pt x="1240" y="860"/>
                    <a:pt x="1255" y="866"/>
                    <a:pt x="1246" y="889"/>
                  </a:cubicBezTo>
                  <a:cubicBezTo>
                    <a:pt x="1256" y="893"/>
                    <a:pt x="1257" y="910"/>
                    <a:pt x="1254" y="923"/>
                  </a:cubicBezTo>
                  <a:cubicBezTo>
                    <a:pt x="1259" y="927"/>
                    <a:pt x="1264" y="932"/>
                    <a:pt x="1267" y="938"/>
                  </a:cubicBezTo>
                  <a:cubicBezTo>
                    <a:pt x="1274" y="939"/>
                    <a:pt x="1283" y="939"/>
                    <a:pt x="1289" y="935"/>
                  </a:cubicBezTo>
                  <a:cubicBezTo>
                    <a:pt x="1293" y="931"/>
                    <a:pt x="1293" y="921"/>
                    <a:pt x="1299" y="921"/>
                  </a:cubicBezTo>
                  <a:cubicBezTo>
                    <a:pt x="1311" y="920"/>
                    <a:pt x="1318" y="917"/>
                    <a:pt x="1325" y="914"/>
                  </a:cubicBezTo>
                  <a:cubicBezTo>
                    <a:pt x="1329" y="912"/>
                    <a:pt x="1333" y="912"/>
                    <a:pt x="1336" y="911"/>
                  </a:cubicBezTo>
                  <a:cubicBezTo>
                    <a:pt x="1340" y="908"/>
                    <a:pt x="1343" y="900"/>
                    <a:pt x="1348" y="895"/>
                  </a:cubicBezTo>
                  <a:cubicBezTo>
                    <a:pt x="1356" y="887"/>
                    <a:pt x="1362" y="882"/>
                    <a:pt x="1370" y="875"/>
                  </a:cubicBezTo>
                  <a:cubicBezTo>
                    <a:pt x="1377" y="868"/>
                    <a:pt x="1382" y="864"/>
                    <a:pt x="1393" y="863"/>
                  </a:cubicBezTo>
                  <a:cubicBezTo>
                    <a:pt x="1396" y="838"/>
                    <a:pt x="1419" y="832"/>
                    <a:pt x="1434" y="818"/>
                  </a:cubicBezTo>
                  <a:cubicBezTo>
                    <a:pt x="1434" y="814"/>
                    <a:pt x="1433" y="812"/>
                    <a:pt x="1433" y="808"/>
                  </a:cubicBezTo>
                  <a:cubicBezTo>
                    <a:pt x="1439" y="803"/>
                    <a:pt x="1449" y="801"/>
                    <a:pt x="1447" y="788"/>
                  </a:cubicBezTo>
                  <a:cubicBezTo>
                    <a:pt x="1455" y="782"/>
                    <a:pt x="1457" y="771"/>
                    <a:pt x="1455" y="757"/>
                  </a:cubicBezTo>
                  <a:cubicBezTo>
                    <a:pt x="1459" y="758"/>
                    <a:pt x="1461" y="756"/>
                    <a:pt x="1463" y="755"/>
                  </a:cubicBezTo>
                  <a:cubicBezTo>
                    <a:pt x="1460" y="738"/>
                    <a:pt x="1475" y="729"/>
                    <a:pt x="1466" y="712"/>
                  </a:cubicBezTo>
                  <a:cubicBezTo>
                    <a:pt x="1457" y="713"/>
                    <a:pt x="1454" y="700"/>
                    <a:pt x="1447" y="697"/>
                  </a:cubicBezTo>
                  <a:cubicBezTo>
                    <a:pt x="1437" y="692"/>
                    <a:pt x="1426" y="699"/>
                    <a:pt x="1417" y="693"/>
                  </a:cubicBezTo>
                  <a:cubicBezTo>
                    <a:pt x="1406" y="686"/>
                    <a:pt x="1409" y="668"/>
                    <a:pt x="1401" y="658"/>
                  </a:cubicBezTo>
                  <a:cubicBezTo>
                    <a:pt x="1400" y="677"/>
                    <a:pt x="1385" y="685"/>
                    <a:pt x="1387" y="706"/>
                  </a:cubicBezTo>
                  <a:cubicBezTo>
                    <a:pt x="1381" y="709"/>
                    <a:pt x="1377" y="706"/>
                    <a:pt x="1370" y="707"/>
                  </a:cubicBezTo>
                  <a:cubicBezTo>
                    <a:pt x="1365" y="709"/>
                    <a:pt x="1362" y="716"/>
                    <a:pt x="1358" y="715"/>
                  </a:cubicBezTo>
                  <a:cubicBezTo>
                    <a:pt x="1340" y="714"/>
                    <a:pt x="1363" y="674"/>
                    <a:pt x="1338" y="679"/>
                  </a:cubicBezTo>
                  <a:cubicBezTo>
                    <a:pt x="1335" y="685"/>
                    <a:pt x="1344" y="697"/>
                    <a:pt x="1338" y="703"/>
                  </a:cubicBezTo>
                  <a:cubicBezTo>
                    <a:pt x="1334" y="690"/>
                    <a:pt x="1318" y="689"/>
                    <a:pt x="1317" y="673"/>
                  </a:cubicBezTo>
                  <a:cubicBezTo>
                    <a:pt x="1310" y="669"/>
                    <a:pt x="1298" y="668"/>
                    <a:pt x="1298" y="657"/>
                  </a:cubicBezTo>
                  <a:cubicBezTo>
                    <a:pt x="1293" y="654"/>
                    <a:pt x="1290" y="651"/>
                    <a:pt x="1289" y="645"/>
                  </a:cubicBezTo>
                  <a:cubicBezTo>
                    <a:pt x="1284" y="643"/>
                    <a:pt x="1278" y="641"/>
                    <a:pt x="1277" y="635"/>
                  </a:cubicBezTo>
                  <a:cubicBezTo>
                    <a:pt x="1278" y="634"/>
                    <a:pt x="1283" y="635"/>
                    <a:pt x="1285" y="634"/>
                  </a:cubicBezTo>
                  <a:cubicBezTo>
                    <a:pt x="1285" y="627"/>
                    <a:pt x="1285" y="627"/>
                    <a:pt x="1285" y="627"/>
                  </a:cubicBezTo>
                  <a:cubicBezTo>
                    <a:pt x="1290" y="627"/>
                    <a:pt x="1290" y="627"/>
                    <a:pt x="1290" y="627"/>
                  </a:cubicBezTo>
                  <a:cubicBezTo>
                    <a:pt x="1288" y="610"/>
                    <a:pt x="1299" y="620"/>
                    <a:pt x="1306" y="626"/>
                  </a:cubicBezTo>
                  <a:cubicBezTo>
                    <a:pt x="1316" y="635"/>
                    <a:pt x="1327" y="651"/>
                    <a:pt x="1336" y="657"/>
                  </a:cubicBezTo>
                  <a:cubicBezTo>
                    <a:pt x="1352" y="644"/>
                    <a:pt x="1362" y="667"/>
                    <a:pt x="1380" y="666"/>
                  </a:cubicBezTo>
                  <a:cubicBezTo>
                    <a:pt x="1388" y="661"/>
                    <a:pt x="1393" y="652"/>
                    <a:pt x="1401" y="647"/>
                  </a:cubicBezTo>
                  <a:cubicBezTo>
                    <a:pt x="1408" y="652"/>
                    <a:pt x="1412" y="659"/>
                    <a:pt x="1416" y="666"/>
                  </a:cubicBezTo>
                  <a:cubicBezTo>
                    <a:pt x="1429" y="670"/>
                    <a:pt x="1436" y="663"/>
                    <a:pt x="1448" y="668"/>
                  </a:cubicBezTo>
                  <a:cubicBezTo>
                    <a:pt x="1451" y="668"/>
                    <a:pt x="1450" y="664"/>
                    <a:pt x="1455" y="665"/>
                  </a:cubicBezTo>
                  <a:cubicBezTo>
                    <a:pt x="1464" y="670"/>
                    <a:pt x="1468" y="663"/>
                    <a:pt x="1474" y="659"/>
                  </a:cubicBezTo>
                  <a:cubicBezTo>
                    <a:pt x="1479" y="657"/>
                    <a:pt x="1486" y="658"/>
                    <a:pt x="1486" y="652"/>
                  </a:cubicBezTo>
                  <a:cubicBezTo>
                    <a:pt x="1495" y="653"/>
                    <a:pt x="1501" y="644"/>
                    <a:pt x="1508" y="640"/>
                  </a:cubicBezTo>
                  <a:cubicBezTo>
                    <a:pt x="1514" y="642"/>
                    <a:pt x="1516" y="648"/>
                    <a:pt x="1519" y="653"/>
                  </a:cubicBezTo>
                  <a:cubicBezTo>
                    <a:pt x="1523" y="653"/>
                    <a:pt x="1526" y="651"/>
                    <a:pt x="1531" y="652"/>
                  </a:cubicBezTo>
                  <a:cubicBezTo>
                    <a:pt x="1532" y="655"/>
                    <a:pt x="1535" y="657"/>
                    <a:pt x="1536" y="659"/>
                  </a:cubicBezTo>
                  <a:cubicBezTo>
                    <a:pt x="1539" y="659"/>
                    <a:pt x="1541" y="658"/>
                    <a:pt x="1544" y="659"/>
                  </a:cubicBezTo>
                  <a:cubicBezTo>
                    <a:pt x="1545" y="662"/>
                    <a:pt x="1546" y="664"/>
                    <a:pt x="1547" y="667"/>
                  </a:cubicBezTo>
                  <a:cubicBezTo>
                    <a:pt x="1555" y="671"/>
                    <a:pt x="1559" y="664"/>
                    <a:pt x="1562" y="659"/>
                  </a:cubicBezTo>
                  <a:cubicBezTo>
                    <a:pt x="1566" y="671"/>
                    <a:pt x="1552" y="672"/>
                    <a:pt x="1553" y="682"/>
                  </a:cubicBezTo>
                  <a:cubicBezTo>
                    <a:pt x="1553" y="687"/>
                    <a:pt x="1566" y="695"/>
                    <a:pt x="1571" y="697"/>
                  </a:cubicBezTo>
                  <a:cubicBezTo>
                    <a:pt x="1592" y="705"/>
                    <a:pt x="1580" y="671"/>
                    <a:pt x="1586" y="661"/>
                  </a:cubicBezTo>
                  <a:cubicBezTo>
                    <a:pt x="1587" y="667"/>
                    <a:pt x="1585" y="672"/>
                    <a:pt x="1585" y="677"/>
                  </a:cubicBezTo>
                  <a:cubicBezTo>
                    <a:pt x="1587" y="680"/>
                    <a:pt x="1590" y="681"/>
                    <a:pt x="1592" y="683"/>
                  </a:cubicBezTo>
                  <a:cubicBezTo>
                    <a:pt x="1595" y="712"/>
                    <a:pt x="1602" y="735"/>
                    <a:pt x="1614" y="755"/>
                  </a:cubicBezTo>
                  <a:cubicBezTo>
                    <a:pt x="1614" y="758"/>
                    <a:pt x="1614" y="760"/>
                    <a:pt x="1615" y="762"/>
                  </a:cubicBezTo>
                  <a:cubicBezTo>
                    <a:pt x="1616" y="764"/>
                    <a:pt x="1619" y="763"/>
                    <a:pt x="1621" y="765"/>
                  </a:cubicBezTo>
                  <a:cubicBezTo>
                    <a:pt x="1621" y="772"/>
                    <a:pt x="1625" y="776"/>
                    <a:pt x="1629" y="779"/>
                  </a:cubicBezTo>
                  <a:cubicBezTo>
                    <a:pt x="1628" y="802"/>
                    <a:pt x="1645" y="814"/>
                    <a:pt x="1647" y="830"/>
                  </a:cubicBezTo>
                  <a:cubicBezTo>
                    <a:pt x="1648" y="844"/>
                    <a:pt x="1651" y="853"/>
                    <a:pt x="1658" y="862"/>
                  </a:cubicBezTo>
                  <a:cubicBezTo>
                    <a:pt x="1663" y="856"/>
                    <a:pt x="1660" y="849"/>
                    <a:pt x="1661" y="842"/>
                  </a:cubicBezTo>
                  <a:cubicBezTo>
                    <a:pt x="1662" y="838"/>
                    <a:pt x="1665" y="835"/>
                    <a:pt x="1666" y="831"/>
                  </a:cubicBezTo>
                  <a:cubicBezTo>
                    <a:pt x="1666" y="830"/>
                    <a:pt x="1665" y="827"/>
                    <a:pt x="1665" y="825"/>
                  </a:cubicBezTo>
                  <a:cubicBezTo>
                    <a:pt x="1665" y="820"/>
                    <a:pt x="1669" y="814"/>
                    <a:pt x="1669" y="810"/>
                  </a:cubicBezTo>
                  <a:cubicBezTo>
                    <a:pt x="1669" y="804"/>
                    <a:pt x="1665" y="794"/>
                    <a:pt x="1664" y="783"/>
                  </a:cubicBezTo>
                  <a:close/>
                  <a:moveTo>
                    <a:pt x="911" y="465"/>
                  </a:moveTo>
                  <a:cubicBezTo>
                    <a:pt x="918" y="465"/>
                    <a:pt x="918" y="465"/>
                    <a:pt x="918" y="465"/>
                  </a:cubicBezTo>
                  <a:cubicBezTo>
                    <a:pt x="918" y="468"/>
                    <a:pt x="910" y="471"/>
                    <a:pt x="911" y="465"/>
                  </a:cubicBezTo>
                  <a:close/>
                  <a:moveTo>
                    <a:pt x="923" y="465"/>
                  </a:moveTo>
                  <a:cubicBezTo>
                    <a:pt x="924" y="455"/>
                    <a:pt x="940" y="454"/>
                    <a:pt x="947" y="459"/>
                  </a:cubicBezTo>
                  <a:cubicBezTo>
                    <a:pt x="947" y="468"/>
                    <a:pt x="931" y="466"/>
                    <a:pt x="923" y="465"/>
                  </a:cubicBezTo>
                  <a:close/>
                  <a:moveTo>
                    <a:pt x="1059" y="449"/>
                  </a:moveTo>
                  <a:cubicBezTo>
                    <a:pt x="1056" y="449"/>
                    <a:pt x="1055" y="446"/>
                    <a:pt x="1052" y="444"/>
                  </a:cubicBezTo>
                  <a:cubicBezTo>
                    <a:pt x="1049" y="444"/>
                    <a:pt x="1048" y="446"/>
                    <a:pt x="1045" y="445"/>
                  </a:cubicBezTo>
                  <a:cubicBezTo>
                    <a:pt x="1041" y="445"/>
                    <a:pt x="1041" y="441"/>
                    <a:pt x="1038" y="440"/>
                  </a:cubicBezTo>
                  <a:cubicBezTo>
                    <a:pt x="1035" y="439"/>
                    <a:pt x="1033" y="441"/>
                    <a:pt x="1030" y="442"/>
                  </a:cubicBezTo>
                  <a:cubicBezTo>
                    <a:pt x="1026" y="440"/>
                    <a:pt x="1024" y="437"/>
                    <a:pt x="1021" y="435"/>
                  </a:cubicBezTo>
                  <a:cubicBezTo>
                    <a:pt x="1015" y="442"/>
                    <a:pt x="1008" y="436"/>
                    <a:pt x="1001" y="437"/>
                  </a:cubicBezTo>
                  <a:cubicBezTo>
                    <a:pt x="990" y="438"/>
                    <a:pt x="981" y="446"/>
                    <a:pt x="976" y="453"/>
                  </a:cubicBezTo>
                  <a:cubicBezTo>
                    <a:pt x="959" y="454"/>
                    <a:pt x="951" y="450"/>
                    <a:pt x="934" y="450"/>
                  </a:cubicBezTo>
                  <a:cubicBezTo>
                    <a:pt x="931" y="445"/>
                    <a:pt x="929" y="437"/>
                    <a:pt x="924" y="433"/>
                  </a:cubicBezTo>
                  <a:cubicBezTo>
                    <a:pt x="925" y="429"/>
                    <a:pt x="927" y="425"/>
                    <a:pt x="925" y="420"/>
                  </a:cubicBezTo>
                  <a:cubicBezTo>
                    <a:pt x="927" y="419"/>
                    <a:pt x="929" y="418"/>
                    <a:pt x="932" y="419"/>
                  </a:cubicBezTo>
                  <a:cubicBezTo>
                    <a:pt x="930" y="406"/>
                    <a:pt x="932" y="395"/>
                    <a:pt x="944" y="395"/>
                  </a:cubicBezTo>
                  <a:cubicBezTo>
                    <a:pt x="945" y="389"/>
                    <a:pt x="942" y="388"/>
                    <a:pt x="942" y="383"/>
                  </a:cubicBezTo>
                  <a:cubicBezTo>
                    <a:pt x="950" y="377"/>
                    <a:pt x="951" y="363"/>
                    <a:pt x="968" y="365"/>
                  </a:cubicBezTo>
                  <a:cubicBezTo>
                    <a:pt x="971" y="368"/>
                    <a:pt x="966" y="366"/>
                    <a:pt x="966" y="370"/>
                  </a:cubicBezTo>
                  <a:cubicBezTo>
                    <a:pt x="971" y="376"/>
                    <a:pt x="981" y="370"/>
                    <a:pt x="987" y="374"/>
                  </a:cubicBezTo>
                  <a:cubicBezTo>
                    <a:pt x="985" y="379"/>
                    <a:pt x="979" y="379"/>
                    <a:pt x="978" y="384"/>
                  </a:cubicBezTo>
                  <a:cubicBezTo>
                    <a:pt x="982" y="386"/>
                    <a:pt x="988" y="386"/>
                    <a:pt x="991" y="389"/>
                  </a:cubicBezTo>
                  <a:cubicBezTo>
                    <a:pt x="991" y="392"/>
                    <a:pt x="990" y="396"/>
                    <a:pt x="992" y="397"/>
                  </a:cubicBezTo>
                  <a:cubicBezTo>
                    <a:pt x="993" y="399"/>
                    <a:pt x="996" y="398"/>
                    <a:pt x="998" y="399"/>
                  </a:cubicBezTo>
                  <a:cubicBezTo>
                    <a:pt x="1001" y="393"/>
                    <a:pt x="1013" y="396"/>
                    <a:pt x="1014" y="387"/>
                  </a:cubicBezTo>
                  <a:cubicBezTo>
                    <a:pt x="1016" y="388"/>
                    <a:pt x="1019" y="389"/>
                    <a:pt x="1023" y="389"/>
                  </a:cubicBezTo>
                  <a:cubicBezTo>
                    <a:pt x="1025" y="388"/>
                    <a:pt x="1025" y="384"/>
                    <a:pt x="1027" y="382"/>
                  </a:cubicBezTo>
                  <a:cubicBezTo>
                    <a:pt x="1017" y="381"/>
                    <a:pt x="1005" y="384"/>
                    <a:pt x="999" y="373"/>
                  </a:cubicBezTo>
                  <a:cubicBezTo>
                    <a:pt x="1005" y="364"/>
                    <a:pt x="1021" y="365"/>
                    <a:pt x="1027" y="356"/>
                  </a:cubicBezTo>
                  <a:cubicBezTo>
                    <a:pt x="1035" y="358"/>
                    <a:pt x="1039" y="350"/>
                    <a:pt x="1047" y="353"/>
                  </a:cubicBezTo>
                  <a:cubicBezTo>
                    <a:pt x="1045" y="358"/>
                    <a:pt x="1040" y="360"/>
                    <a:pt x="1035" y="362"/>
                  </a:cubicBezTo>
                  <a:cubicBezTo>
                    <a:pt x="1036" y="366"/>
                    <a:pt x="1039" y="366"/>
                    <a:pt x="1042" y="368"/>
                  </a:cubicBezTo>
                  <a:cubicBezTo>
                    <a:pt x="1038" y="370"/>
                    <a:pt x="1040" y="378"/>
                    <a:pt x="1037" y="382"/>
                  </a:cubicBezTo>
                  <a:cubicBezTo>
                    <a:pt x="1033" y="383"/>
                    <a:pt x="1033" y="379"/>
                    <a:pt x="1029" y="380"/>
                  </a:cubicBezTo>
                  <a:cubicBezTo>
                    <a:pt x="1029" y="388"/>
                    <a:pt x="1037" y="388"/>
                    <a:pt x="1040" y="393"/>
                  </a:cubicBezTo>
                  <a:cubicBezTo>
                    <a:pt x="1049" y="391"/>
                    <a:pt x="1049" y="398"/>
                    <a:pt x="1058" y="396"/>
                  </a:cubicBezTo>
                  <a:cubicBezTo>
                    <a:pt x="1067" y="408"/>
                    <a:pt x="1087" y="411"/>
                    <a:pt x="1099" y="418"/>
                  </a:cubicBezTo>
                  <a:cubicBezTo>
                    <a:pt x="1105" y="421"/>
                    <a:pt x="1106" y="431"/>
                    <a:pt x="1112" y="436"/>
                  </a:cubicBezTo>
                  <a:cubicBezTo>
                    <a:pt x="1106" y="454"/>
                    <a:pt x="1075" y="450"/>
                    <a:pt x="1059" y="449"/>
                  </a:cubicBezTo>
                  <a:close/>
                  <a:moveTo>
                    <a:pt x="1104" y="91"/>
                  </a:moveTo>
                  <a:cubicBezTo>
                    <a:pt x="1108" y="89"/>
                    <a:pt x="1112" y="93"/>
                    <a:pt x="1115" y="94"/>
                  </a:cubicBezTo>
                  <a:cubicBezTo>
                    <a:pt x="1112" y="96"/>
                    <a:pt x="1108" y="92"/>
                    <a:pt x="1104" y="91"/>
                  </a:cubicBezTo>
                  <a:close/>
                  <a:moveTo>
                    <a:pt x="215" y="250"/>
                  </a:moveTo>
                  <a:cubicBezTo>
                    <a:pt x="215" y="251"/>
                    <a:pt x="214" y="252"/>
                    <a:pt x="215" y="252"/>
                  </a:cubicBezTo>
                  <a:cubicBezTo>
                    <a:pt x="217" y="250"/>
                    <a:pt x="221" y="244"/>
                    <a:pt x="217" y="245"/>
                  </a:cubicBezTo>
                  <a:cubicBezTo>
                    <a:pt x="222" y="239"/>
                    <a:pt x="233" y="233"/>
                    <a:pt x="233" y="227"/>
                  </a:cubicBezTo>
                  <a:cubicBezTo>
                    <a:pt x="238" y="227"/>
                    <a:pt x="246" y="222"/>
                    <a:pt x="248" y="214"/>
                  </a:cubicBezTo>
                  <a:cubicBezTo>
                    <a:pt x="246" y="214"/>
                    <a:pt x="243" y="217"/>
                    <a:pt x="242" y="215"/>
                  </a:cubicBezTo>
                  <a:cubicBezTo>
                    <a:pt x="248" y="212"/>
                    <a:pt x="251" y="208"/>
                    <a:pt x="258" y="206"/>
                  </a:cubicBezTo>
                  <a:cubicBezTo>
                    <a:pt x="260" y="209"/>
                    <a:pt x="257" y="213"/>
                    <a:pt x="257" y="216"/>
                  </a:cubicBezTo>
                  <a:cubicBezTo>
                    <a:pt x="262" y="217"/>
                    <a:pt x="268" y="210"/>
                    <a:pt x="274" y="208"/>
                  </a:cubicBezTo>
                  <a:cubicBezTo>
                    <a:pt x="277" y="207"/>
                    <a:pt x="283" y="209"/>
                    <a:pt x="287" y="206"/>
                  </a:cubicBezTo>
                  <a:cubicBezTo>
                    <a:pt x="288" y="206"/>
                    <a:pt x="290" y="202"/>
                    <a:pt x="292" y="201"/>
                  </a:cubicBezTo>
                  <a:cubicBezTo>
                    <a:pt x="297" y="196"/>
                    <a:pt x="310" y="191"/>
                    <a:pt x="305" y="187"/>
                  </a:cubicBezTo>
                  <a:cubicBezTo>
                    <a:pt x="309" y="187"/>
                    <a:pt x="308" y="182"/>
                    <a:pt x="311" y="180"/>
                  </a:cubicBezTo>
                  <a:cubicBezTo>
                    <a:pt x="313" y="181"/>
                    <a:pt x="313" y="182"/>
                    <a:pt x="314" y="181"/>
                  </a:cubicBezTo>
                  <a:cubicBezTo>
                    <a:pt x="323" y="157"/>
                    <a:pt x="359" y="143"/>
                    <a:pt x="376" y="124"/>
                  </a:cubicBezTo>
                  <a:cubicBezTo>
                    <a:pt x="369" y="128"/>
                    <a:pt x="360" y="131"/>
                    <a:pt x="353" y="134"/>
                  </a:cubicBezTo>
                  <a:cubicBezTo>
                    <a:pt x="361" y="124"/>
                    <a:pt x="378" y="117"/>
                    <a:pt x="387" y="108"/>
                  </a:cubicBezTo>
                  <a:cubicBezTo>
                    <a:pt x="396" y="101"/>
                    <a:pt x="401" y="100"/>
                    <a:pt x="400" y="94"/>
                  </a:cubicBezTo>
                  <a:cubicBezTo>
                    <a:pt x="322" y="137"/>
                    <a:pt x="252" y="193"/>
                    <a:pt x="200" y="258"/>
                  </a:cubicBezTo>
                  <a:cubicBezTo>
                    <a:pt x="202" y="257"/>
                    <a:pt x="206" y="253"/>
                    <a:pt x="208" y="254"/>
                  </a:cubicBezTo>
                  <a:cubicBezTo>
                    <a:pt x="203" y="260"/>
                    <a:pt x="192" y="264"/>
                    <a:pt x="192" y="271"/>
                  </a:cubicBezTo>
                  <a:cubicBezTo>
                    <a:pt x="194" y="265"/>
                    <a:pt x="199" y="268"/>
                    <a:pt x="203" y="266"/>
                  </a:cubicBezTo>
                  <a:cubicBezTo>
                    <a:pt x="210" y="262"/>
                    <a:pt x="210" y="255"/>
                    <a:pt x="215" y="250"/>
                  </a:cubicBezTo>
                  <a:close/>
                  <a:moveTo>
                    <a:pt x="63" y="1119"/>
                  </a:moveTo>
                  <a:cubicBezTo>
                    <a:pt x="63" y="1103"/>
                    <a:pt x="54" y="1079"/>
                    <a:pt x="50" y="1063"/>
                  </a:cubicBezTo>
                  <a:cubicBezTo>
                    <a:pt x="48" y="1055"/>
                    <a:pt x="40" y="1047"/>
                    <a:pt x="37" y="1040"/>
                  </a:cubicBezTo>
                  <a:cubicBezTo>
                    <a:pt x="33" y="1032"/>
                    <a:pt x="30" y="1023"/>
                    <a:pt x="27" y="1015"/>
                  </a:cubicBezTo>
                  <a:cubicBezTo>
                    <a:pt x="21" y="998"/>
                    <a:pt x="12" y="982"/>
                    <a:pt x="8" y="967"/>
                  </a:cubicBezTo>
                  <a:cubicBezTo>
                    <a:pt x="7" y="962"/>
                    <a:pt x="6" y="954"/>
                    <a:pt x="5" y="947"/>
                  </a:cubicBezTo>
                  <a:cubicBezTo>
                    <a:pt x="4" y="944"/>
                    <a:pt x="0" y="929"/>
                    <a:pt x="1" y="934"/>
                  </a:cubicBezTo>
                  <a:cubicBezTo>
                    <a:pt x="15" y="1040"/>
                    <a:pt x="48" y="1132"/>
                    <a:pt x="89" y="1208"/>
                  </a:cubicBezTo>
                  <a:cubicBezTo>
                    <a:pt x="80" y="1183"/>
                    <a:pt x="62" y="1159"/>
                    <a:pt x="61" y="1131"/>
                  </a:cubicBezTo>
                  <a:cubicBezTo>
                    <a:pt x="61" y="1127"/>
                    <a:pt x="63" y="1123"/>
                    <a:pt x="63" y="1119"/>
                  </a:cubicBezTo>
                  <a:close/>
                  <a:moveTo>
                    <a:pt x="585" y="5"/>
                  </a:moveTo>
                  <a:cubicBezTo>
                    <a:pt x="584" y="5"/>
                    <a:pt x="583" y="5"/>
                    <a:pt x="583" y="4"/>
                  </a:cubicBezTo>
                  <a:cubicBezTo>
                    <a:pt x="584" y="4"/>
                    <a:pt x="585" y="4"/>
                    <a:pt x="585" y="3"/>
                  </a:cubicBezTo>
                  <a:cubicBezTo>
                    <a:pt x="581" y="3"/>
                    <a:pt x="578" y="3"/>
                    <a:pt x="577" y="6"/>
                  </a:cubicBezTo>
                  <a:cubicBezTo>
                    <a:pt x="580" y="7"/>
                    <a:pt x="584" y="7"/>
                    <a:pt x="585" y="5"/>
                  </a:cubicBezTo>
                  <a:close/>
                </a:path>
              </a:pathLst>
            </a:custGeom>
            <a:gradFill rotWithShape="1">
              <a:gsLst>
                <a:gs pos="0">
                  <a:srgbClr val="69A2E1"/>
                </a:gs>
                <a:gs pos="100000">
                  <a:srgbClr val="0061B2"/>
                </a:gs>
              </a:gsLst>
              <a:lin ang="5400000" scaled="1"/>
            </a:gradFill>
            <a:ln w="9525">
              <a:solidFill>
                <a:srgbClr val="FFFFFF"/>
              </a:solidFill>
              <a:round/>
              <a:headEnd/>
              <a:tailEnd/>
            </a:ln>
          </p:spPr>
          <p:txBody>
            <a:bodyPr/>
            <a:lstStyle/>
            <a:p>
              <a:pPr algn="l" fontAlgn="auto">
                <a:spcBef>
                  <a:spcPts val="0"/>
                </a:spcBef>
                <a:spcAft>
                  <a:spcPts val="0"/>
                </a:spcAft>
              </a:pPr>
              <a:endParaRPr lang="es-PE" sz="1800">
                <a:solidFill>
                  <a:srgbClr val="000000"/>
                </a:solidFill>
                <a:latin typeface="Arial" pitchFamily="34" charset="0"/>
                <a:cs typeface="Arial" pitchFamily="34" charset="0"/>
              </a:endParaRPr>
            </a:p>
          </p:txBody>
        </p:sp>
      </p:grpSp>
      <p:pic>
        <p:nvPicPr>
          <p:cNvPr id="4098" name="Picture 2"/>
          <p:cNvPicPr>
            <a:picLocks noChangeAspect="1" noChangeArrowheads="1"/>
          </p:cNvPicPr>
          <p:nvPr/>
        </p:nvPicPr>
        <p:blipFill>
          <a:blip r:embed="rId21" cstate="print"/>
          <a:srcRect/>
          <a:stretch>
            <a:fillRect/>
          </a:stretch>
        </p:blipFill>
        <p:spPr bwMode="auto">
          <a:xfrm>
            <a:off x="1475656" y="4365104"/>
            <a:ext cx="1704975" cy="1009650"/>
          </a:xfrm>
          <a:prstGeom prst="rect">
            <a:avLst/>
          </a:prstGeom>
          <a:noFill/>
          <a:ln w="9525">
            <a:noFill/>
            <a:miter lim="800000"/>
            <a:headEnd/>
            <a:tailEnd/>
          </a:ln>
        </p:spPr>
      </p:pic>
      <p:pic>
        <p:nvPicPr>
          <p:cNvPr id="26" name="Picture 2"/>
          <p:cNvPicPr>
            <a:picLocks noChangeAspect="1" noChangeArrowheads="1"/>
          </p:cNvPicPr>
          <p:nvPr/>
        </p:nvPicPr>
        <p:blipFill>
          <a:blip r:embed="rId22" cstate="print"/>
          <a:srcRect/>
          <a:stretch>
            <a:fillRect/>
          </a:stretch>
        </p:blipFill>
        <p:spPr bwMode="auto">
          <a:xfrm>
            <a:off x="107504" y="1052736"/>
            <a:ext cx="1657350" cy="1076325"/>
          </a:xfrm>
          <a:prstGeom prst="rect">
            <a:avLst/>
          </a:prstGeom>
          <a:noFill/>
          <a:ln w="9525">
            <a:noFill/>
            <a:miter lim="800000"/>
            <a:headEnd/>
            <a:tailEnd/>
          </a:ln>
        </p:spPr>
      </p:pic>
      <p:pic>
        <p:nvPicPr>
          <p:cNvPr id="27" name="Picture 3"/>
          <p:cNvPicPr>
            <a:picLocks noChangeAspect="1" noChangeArrowheads="1"/>
          </p:cNvPicPr>
          <p:nvPr/>
        </p:nvPicPr>
        <p:blipFill>
          <a:blip r:embed="rId23" cstate="print"/>
          <a:srcRect/>
          <a:stretch>
            <a:fillRect/>
          </a:stretch>
        </p:blipFill>
        <p:spPr bwMode="auto">
          <a:xfrm>
            <a:off x="1259632" y="2780928"/>
            <a:ext cx="1676400" cy="647700"/>
          </a:xfrm>
          <a:prstGeom prst="rect">
            <a:avLst/>
          </a:prstGeom>
          <a:noFill/>
          <a:ln w="9525">
            <a:noFill/>
            <a:miter lim="800000"/>
            <a:headEnd/>
            <a:tailEnd/>
          </a:ln>
        </p:spPr>
      </p:pic>
      <p:pic>
        <p:nvPicPr>
          <p:cNvPr id="28" name="Picture 4"/>
          <p:cNvPicPr>
            <a:picLocks noChangeAspect="1" noChangeArrowheads="1"/>
          </p:cNvPicPr>
          <p:nvPr/>
        </p:nvPicPr>
        <p:blipFill>
          <a:blip r:embed="rId24" cstate="print"/>
          <a:srcRect/>
          <a:stretch>
            <a:fillRect/>
          </a:stretch>
        </p:blipFill>
        <p:spPr bwMode="auto">
          <a:xfrm>
            <a:off x="6444208" y="3068960"/>
            <a:ext cx="1296144" cy="899914"/>
          </a:xfrm>
          <a:prstGeom prst="rect">
            <a:avLst/>
          </a:prstGeom>
          <a:noFill/>
          <a:ln w="9525">
            <a:noFill/>
            <a:miter lim="800000"/>
            <a:headEnd/>
            <a:tailEnd/>
          </a:ln>
        </p:spPr>
      </p:pic>
      <p:pic>
        <p:nvPicPr>
          <p:cNvPr id="29" name="Picture 5"/>
          <p:cNvPicPr>
            <a:picLocks noChangeAspect="1" noChangeArrowheads="1"/>
          </p:cNvPicPr>
          <p:nvPr/>
        </p:nvPicPr>
        <p:blipFill>
          <a:blip r:embed="rId25" cstate="print"/>
          <a:srcRect/>
          <a:stretch>
            <a:fillRect/>
          </a:stretch>
        </p:blipFill>
        <p:spPr bwMode="auto">
          <a:xfrm>
            <a:off x="7676668" y="1052736"/>
            <a:ext cx="1467332" cy="864096"/>
          </a:xfrm>
          <a:prstGeom prst="rect">
            <a:avLst/>
          </a:prstGeom>
          <a:noFill/>
          <a:ln w="9525">
            <a:noFill/>
            <a:miter lim="800000"/>
            <a:headEnd/>
            <a:tailEnd/>
          </a:ln>
        </p:spPr>
      </p:pic>
      <p:pic>
        <p:nvPicPr>
          <p:cNvPr id="30" name="Picture 6"/>
          <p:cNvPicPr>
            <a:picLocks noChangeAspect="1" noChangeArrowheads="1"/>
          </p:cNvPicPr>
          <p:nvPr/>
        </p:nvPicPr>
        <p:blipFill>
          <a:blip r:embed="rId26" cstate="print"/>
          <a:srcRect/>
          <a:stretch>
            <a:fillRect/>
          </a:stretch>
        </p:blipFill>
        <p:spPr bwMode="auto">
          <a:xfrm>
            <a:off x="7710448" y="2204864"/>
            <a:ext cx="1433552" cy="1008111"/>
          </a:xfrm>
          <a:prstGeom prst="rect">
            <a:avLst/>
          </a:prstGeom>
          <a:noFill/>
          <a:ln w="9525">
            <a:noFill/>
            <a:miter lim="800000"/>
            <a:headEnd/>
            <a:tailEnd/>
          </a:ln>
        </p:spPr>
      </p:pic>
      <p:pic>
        <p:nvPicPr>
          <p:cNvPr id="189442" name="Picture 2"/>
          <p:cNvPicPr>
            <a:picLocks noChangeAspect="1" noChangeArrowheads="1"/>
          </p:cNvPicPr>
          <p:nvPr/>
        </p:nvPicPr>
        <p:blipFill>
          <a:blip r:embed="rId27" cstate="print"/>
          <a:srcRect/>
          <a:stretch>
            <a:fillRect/>
          </a:stretch>
        </p:blipFill>
        <p:spPr bwMode="auto">
          <a:xfrm>
            <a:off x="3995936" y="980728"/>
            <a:ext cx="1152128" cy="682006"/>
          </a:xfrm>
          <a:prstGeom prst="rect">
            <a:avLst/>
          </a:prstGeom>
          <a:noFill/>
          <a:ln w="9525">
            <a:noFill/>
            <a:miter lim="800000"/>
            <a:headEnd/>
            <a:tailEnd/>
          </a:ln>
        </p:spPr>
      </p:pic>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051"/>
                                        </p:tgtEl>
                                        <p:attrNameLst>
                                          <p:attrName>style.visibility</p:attrName>
                                        </p:attrNameLst>
                                      </p:cBhvr>
                                      <p:to>
                                        <p:strVal val="visible"/>
                                      </p:to>
                                    </p:set>
                                    <p:animEffect transition="in" filter="box(in)">
                                      <p:cBhvr>
                                        <p:cTn id="7" dur="500"/>
                                        <p:tgtEl>
                                          <p:spTgt spid="2051"/>
                                        </p:tgtEl>
                                      </p:cBhvr>
                                    </p:animEffect>
                                  </p:childTnLst>
                                </p:cTn>
                              </p:par>
                              <p:par>
                                <p:cTn id="8" presetID="4" presetClass="entr" presetSubtype="16" fill="hold" nodeType="withEffect">
                                  <p:stCondLst>
                                    <p:cond delay="0"/>
                                  </p:stCondLst>
                                  <p:childTnLst>
                                    <p:set>
                                      <p:cBhvr>
                                        <p:cTn id="9" dur="1" fill="hold">
                                          <p:stCondLst>
                                            <p:cond delay="0"/>
                                          </p:stCondLst>
                                        </p:cTn>
                                        <p:tgtEl>
                                          <p:spTgt spid="2052"/>
                                        </p:tgtEl>
                                        <p:attrNameLst>
                                          <p:attrName>style.visibility</p:attrName>
                                        </p:attrNameLst>
                                      </p:cBhvr>
                                      <p:to>
                                        <p:strVal val="visible"/>
                                      </p:to>
                                    </p:set>
                                    <p:animEffect transition="in" filter="box(in)">
                                      <p:cBhvr>
                                        <p:cTn id="10" dur="500"/>
                                        <p:tgtEl>
                                          <p:spTgt spid="2052"/>
                                        </p:tgtEl>
                                      </p:cBhvr>
                                    </p:animEffect>
                                  </p:childTnLst>
                                </p:cTn>
                              </p:par>
                              <p:par>
                                <p:cTn id="11" presetID="4" presetClass="entr" presetSubtype="16" fill="hold" nodeType="withEffect">
                                  <p:stCondLst>
                                    <p:cond delay="0"/>
                                  </p:stCondLst>
                                  <p:childTnLst>
                                    <p:set>
                                      <p:cBhvr>
                                        <p:cTn id="12" dur="1" fill="hold">
                                          <p:stCondLst>
                                            <p:cond delay="0"/>
                                          </p:stCondLst>
                                        </p:cTn>
                                        <p:tgtEl>
                                          <p:spTgt spid="2054"/>
                                        </p:tgtEl>
                                        <p:attrNameLst>
                                          <p:attrName>style.visibility</p:attrName>
                                        </p:attrNameLst>
                                      </p:cBhvr>
                                      <p:to>
                                        <p:strVal val="visible"/>
                                      </p:to>
                                    </p:set>
                                    <p:animEffect transition="in" filter="box(in)">
                                      <p:cBhvr>
                                        <p:cTn id="13" dur="500"/>
                                        <p:tgtEl>
                                          <p:spTgt spid="2054"/>
                                        </p:tgtEl>
                                      </p:cBhvr>
                                    </p:animEffect>
                                  </p:childTnLst>
                                </p:cTn>
                              </p:par>
                              <p:par>
                                <p:cTn id="14" presetID="4" presetClass="entr" presetSubtype="16" fill="hold" nodeType="withEffect">
                                  <p:stCondLst>
                                    <p:cond delay="0"/>
                                  </p:stCondLst>
                                  <p:childTnLst>
                                    <p:set>
                                      <p:cBhvr>
                                        <p:cTn id="15" dur="1" fill="hold">
                                          <p:stCondLst>
                                            <p:cond delay="0"/>
                                          </p:stCondLst>
                                        </p:cTn>
                                        <p:tgtEl>
                                          <p:spTgt spid="2061"/>
                                        </p:tgtEl>
                                        <p:attrNameLst>
                                          <p:attrName>style.visibility</p:attrName>
                                        </p:attrNameLst>
                                      </p:cBhvr>
                                      <p:to>
                                        <p:strVal val="visible"/>
                                      </p:to>
                                    </p:set>
                                    <p:animEffect transition="in" filter="box(in)">
                                      <p:cBhvr>
                                        <p:cTn id="16" dur="500"/>
                                        <p:tgtEl>
                                          <p:spTgt spid="2061"/>
                                        </p:tgtEl>
                                      </p:cBhvr>
                                    </p:animEffect>
                                  </p:childTnLst>
                                </p:cTn>
                              </p:par>
                              <p:par>
                                <p:cTn id="17" presetID="4" presetClass="entr" presetSubtype="16" fill="hold" nodeType="withEffect">
                                  <p:stCondLst>
                                    <p:cond delay="0"/>
                                  </p:stCondLst>
                                  <p:childTnLst>
                                    <p:set>
                                      <p:cBhvr>
                                        <p:cTn id="18" dur="1" fill="hold">
                                          <p:stCondLst>
                                            <p:cond delay="0"/>
                                          </p:stCondLst>
                                        </p:cTn>
                                        <p:tgtEl>
                                          <p:spTgt spid="2063"/>
                                        </p:tgtEl>
                                        <p:attrNameLst>
                                          <p:attrName>style.visibility</p:attrName>
                                        </p:attrNameLst>
                                      </p:cBhvr>
                                      <p:to>
                                        <p:strVal val="visible"/>
                                      </p:to>
                                    </p:set>
                                    <p:animEffect transition="in" filter="box(in)">
                                      <p:cBhvr>
                                        <p:cTn id="19" dur="500"/>
                                        <p:tgtEl>
                                          <p:spTgt spid="2063"/>
                                        </p:tgtEl>
                                      </p:cBhvr>
                                    </p:animEffect>
                                  </p:childTnLst>
                                </p:cTn>
                              </p:par>
                              <p:par>
                                <p:cTn id="20" presetID="4" presetClass="entr" presetSubtype="16" fill="hold" nodeType="withEffect">
                                  <p:stCondLst>
                                    <p:cond delay="0"/>
                                  </p:stCondLst>
                                  <p:childTnLst>
                                    <p:set>
                                      <p:cBhvr>
                                        <p:cTn id="21" dur="1" fill="hold">
                                          <p:stCondLst>
                                            <p:cond delay="0"/>
                                          </p:stCondLst>
                                        </p:cTn>
                                        <p:tgtEl>
                                          <p:spTgt spid="2064"/>
                                        </p:tgtEl>
                                        <p:attrNameLst>
                                          <p:attrName>style.visibility</p:attrName>
                                        </p:attrNameLst>
                                      </p:cBhvr>
                                      <p:to>
                                        <p:strVal val="visible"/>
                                      </p:to>
                                    </p:set>
                                    <p:animEffect transition="in" filter="box(in)">
                                      <p:cBhvr>
                                        <p:cTn id="22" dur="500"/>
                                        <p:tgtEl>
                                          <p:spTgt spid="2064"/>
                                        </p:tgtEl>
                                      </p:cBhvr>
                                    </p:animEffect>
                                  </p:childTnLst>
                                </p:cTn>
                              </p:par>
                              <p:par>
                                <p:cTn id="23" presetID="4" presetClass="entr" presetSubtype="16" fill="hold" nodeType="withEffect">
                                  <p:stCondLst>
                                    <p:cond delay="0"/>
                                  </p:stCondLst>
                                  <p:childTnLst>
                                    <p:set>
                                      <p:cBhvr>
                                        <p:cTn id="24" dur="1" fill="hold">
                                          <p:stCondLst>
                                            <p:cond delay="0"/>
                                          </p:stCondLst>
                                        </p:cTn>
                                        <p:tgtEl>
                                          <p:spTgt spid="4098"/>
                                        </p:tgtEl>
                                        <p:attrNameLst>
                                          <p:attrName>style.visibility</p:attrName>
                                        </p:attrNameLst>
                                      </p:cBhvr>
                                      <p:to>
                                        <p:strVal val="visible"/>
                                      </p:to>
                                    </p:set>
                                    <p:animEffect transition="in" filter="box(in)">
                                      <p:cBhvr>
                                        <p:cTn id="25" dur="500"/>
                                        <p:tgtEl>
                                          <p:spTgt spid="4098"/>
                                        </p:tgtEl>
                                      </p:cBhvr>
                                    </p:animEffect>
                                  </p:childTnLst>
                                </p:cTn>
                              </p:par>
                              <p:par>
                                <p:cTn id="26" presetID="4" presetClass="entr" presetSubtype="16"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box(in)">
                                      <p:cBhvr>
                                        <p:cTn id="28" dur="500"/>
                                        <p:tgtEl>
                                          <p:spTgt spid="27"/>
                                        </p:tgtEl>
                                      </p:cBhvr>
                                    </p:animEffect>
                                  </p:childTnLst>
                                </p:cTn>
                              </p:par>
                              <p:par>
                                <p:cTn id="29" presetID="4" presetClass="entr" presetSubtype="16"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box(in)">
                                      <p:cBhvr>
                                        <p:cTn id="31" dur="500"/>
                                        <p:tgtEl>
                                          <p:spTgt spid="26"/>
                                        </p:tgtEl>
                                      </p:cBhvr>
                                    </p:animEffect>
                                  </p:childTnLst>
                                </p:cTn>
                              </p:par>
                              <p:par>
                                <p:cTn id="32" presetID="4" presetClass="entr" presetSubtype="16" fill="hold" nodeType="withEffect">
                                  <p:stCondLst>
                                    <p:cond delay="0"/>
                                  </p:stCondLst>
                                  <p:childTnLst>
                                    <p:set>
                                      <p:cBhvr>
                                        <p:cTn id="33" dur="1" fill="hold">
                                          <p:stCondLst>
                                            <p:cond delay="0"/>
                                          </p:stCondLst>
                                        </p:cTn>
                                        <p:tgtEl>
                                          <p:spTgt spid="2050"/>
                                        </p:tgtEl>
                                        <p:attrNameLst>
                                          <p:attrName>style.visibility</p:attrName>
                                        </p:attrNameLst>
                                      </p:cBhvr>
                                      <p:to>
                                        <p:strVal val="visible"/>
                                      </p:to>
                                    </p:set>
                                    <p:animEffect transition="in" filter="box(in)">
                                      <p:cBhvr>
                                        <p:cTn id="34" dur="500"/>
                                        <p:tgtEl>
                                          <p:spTgt spid="2050"/>
                                        </p:tgtEl>
                                      </p:cBhvr>
                                    </p:animEffect>
                                  </p:childTnLst>
                                </p:cTn>
                              </p:par>
                            </p:childTnLst>
                          </p:cTn>
                        </p:par>
                      </p:childTnLst>
                    </p:cTn>
                  </p:par>
                  <p:par>
                    <p:cTn id="35" fill="hold">
                      <p:stCondLst>
                        <p:cond delay="indefinite"/>
                      </p:stCondLst>
                      <p:childTnLst>
                        <p:par>
                          <p:cTn id="36" fill="hold">
                            <p:stCondLst>
                              <p:cond delay="0"/>
                            </p:stCondLst>
                            <p:childTnLst>
                              <p:par>
                                <p:cTn id="37" presetID="4" presetClass="entr" presetSubtype="16" fill="hold" nodeType="clickEffect">
                                  <p:stCondLst>
                                    <p:cond delay="0"/>
                                  </p:stCondLst>
                                  <p:childTnLst>
                                    <p:set>
                                      <p:cBhvr>
                                        <p:cTn id="38" dur="1" fill="hold">
                                          <p:stCondLst>
                                            <p:cond delay="0"/>
                                          </p:stCondLst>
                                        </p:cTn>
                                        <p:tgtEl>
                                          <p:spTgt spid="2053"/>
                                        </p:tgtEl>
                                        <p:attrNameLst>
                                          <p:attrName>style.visibility</p:attrName>
                                        </p:attrNameLst>
                                      </p:cBhvr>
                                      <p:to>
                                        <p:strVal val="visible"/>
                                      </p:to>
                                    </p:set>
                                    <p:animEffect transition="in" filter="box(in)">
                                      <p:cBhvr>
                                        <p:cTn id="39" dur="500"/>
                                        <p:tgtEl>
                                          <p:spTgt spid="2053"/>
                                        </p:tgtEl>
                                      </p:cBhvr>
                                    </p:animEffect>
                                  </p:childTnLst>
                                </p:cTn>
                              </p:par>
                              <p:par>
                                <p:cTn id="40" presetID="4" presetClass="entr" presetSubtype="16" fill="hold" nodeType="withEffect">
                                  <p:stCondLst>
                                    <p:cond delay="0"/>
                                  </p:stCondLst>
                                  <p:childTnLst>
                                    <p:set>
                                      <p:cBhvr>
                                        <p:cTn id="41" dur="1" fill="hold">
                                          <p:stCondLst>
                                            <p:cond delay="0"/>
                                          </p:stCondLst>
                                        </p:cTn>
                                        <p:tgtEl>
                                          <p:spTgt spid="2058"/>
                                        </p:tgtEl>
                                        <p:attrNameLst>
                                          <p:attrName>style.visibility</p:attrName>
                                        </p:attrNameLst>
                                      </p:cBhvr>
                                      <p:to>
                                        <p:strVal val="visible"/>
                                      </p:to>
                                    </p:set>
                                    <p:animEffect transition="in" filter="box(in)">
                                      <p:cBhvr>
                                        <p:cTn id="42" dur="500"/>
                                        <p:tgtEl>
                                          <p:spTgt spid="2058"/>
                                        </p:tgtEl>
                                      </p:cBhvr>
                                    </p:animEffect>
                                  </p:childTnLst>
                                </p:cTn>
                              </p:par>
                              <p:par>
                                <p:cTn id="43" presetID="4" presetClass="entr" presetSubtype="16" fill="hold" nodeType="withEffect">
                                  <p:stCondLst>
                                    <p:cond delay="0"/>
                                  </p:stCondLst>
                                  <p:childTnLst>
                                    <p:set>
                                      <p:cBhvr>
                                        <p:cTn id="44" dur="1" fill="hold">
                                          <p:stCondLst>
                                            <p:cond delay="0"/>
                                          </p:stCondLst>
                                        </p:cTn>
                                        <p:tgtEl>
                                          <p:spTgt spid="2055"/>
                                        </p:tgtEl>
                                        <p:attrNameLst>
                                          <p:attrName>style.visibility</p:attrName>
                                        </p:attrNameLst>
                                      </p:cBhvr>
                                      <p:to>
                                        <p:strVal val="visible"/>
                                      </p:to>
                                    </p:set>
                                    <p:animEffect transition="in" filter="box(in)">
                                      <p:cBhvr>
                                        <p:cTn id="45" dur="500"/>
                                        <p:tgtEl>
                                          <p:spTgt spid="2055"/>
                                        </p:tgtEl>
                                      </p:cBhvr>
                                    </p:animEffect>
                                  </p:childTnLst>
                                </p:cTn>
                              </p:par>
                              <p:par>
                                <p:cTn id="46" presetID="4" presetClass="entr" presetSubtype="16" fill="hold" nodeType="withEffect">
                                  <p:stCondLst>
                                    <p:cond delay="0"/>
                                  </p:stCondLst>
                                  <p:childTnLst>
                                    <p:set>
                                      <p:cBhvr>
                                        <p:cTn id="47" dur="1" fill="hold">
                                          <p:stCondLst>
                                            <p:cond delay="0"/>
                                          </p:stCondLst>
                                        </p:cTn>
                                        <p:tgtEl>
                                          <p:spTgt spid="2060"/>
                                        </p:tgtEl>
                                        <p:attrNameLst>
                                          <p:attrName>style.visibility</p:attrName>
                                        </p:attrNameLst>
                                      </p:cBhvr>
                                      <p:to>
                                        <p:strVal val="visible"/>
                                      </p:to>
                                    </p:set>
                                    <p:animEffect transition="in" filter="box(in)">
                                      <p:cBhvr>
                                        <p:cTn id="48" dur="500"/>
                                        <p:tgtEl>
                                          <p:spTgt spid="2060"/>
                                        </p:tgtEl>
                                      </p:cBhvr>
                                    </p:animEffect>
                                  </p:childTnLst>
                                </p:cTn>
                              </p:par>
                              <p:par>
                                <p:cTn id="49" presetID="4" presetClass="entr" presetSubtype="16" fill="hold" nodeType="withEffect">
                                  <p:stCondLst>
                                    <p:cond delay="0"/>
                                  </p:stCondLst>
                                  <p:childTnLst>
                                    <p:set>
                                      <p:cBhvr>
                                        <p:cTn id="50" dur="1" fill="hold">
                                          <p:stCondLst>
                                            <p:cond delay="0"/>
                                          </p:stCondLst>
                                        </p:cTn>
                                        <p:tgtEl>
                                          <p:spTgt spid="2056"/>
                                        </p:tgtEl>
                                        <p:attrNameLst>
                                          <p:attrName>style.visibility</p:attrName>
                                        </p:attrNameLst>
                                      </p:cBhvr>
                                      <p:to>
                                        <p:strVal val="visible"/>
                                      </p:to>
                                    </p:set>
                                    <p:animEffect transition="in" filter="box(in)">
                                      <p:cBhvr>
                                        <p:cTn id="51" dur="500"/>
                                        <p:tgtEl>
                                          <p:spTgt spid="2056"/>
                                        </p:tgtEl>
                                      </p:cBhvr>
                                    </p:animEffect>
                                  </p:childTnLst>
                                </p:cTn>
                              </p:par>
                              <p:par>
                                <p:cTn id="52" presetID="4" presetClass="entr" presetSubtype="16" fill="hold" nodeType="withEffect">
                                  <p:stCondLst>
                                    <p:cond delay="0"/>
                                  </p:stCondLst>
                                  <p:childTnLst>
                                    <p:set>
                                      <p:cBhvr>
                                        <p:cTn id="53" dur="1" fill="hold">
                                          <p:stCondLst>
                                            <p:cond delay="0"/>
                                          </p:stCondLst>
                                        </p:cTn>
                                        <p:tgtEl>
                                          <p:spTgt spid="2062"/>
                                        </p:tgtEl>
                                        <p:attrNameLst>
                                          <p:attrName>style.visibility</p:attrName>
                                        </p:attrNameLst>
                                      </p:cBhvr>
                                      <p:to>
                                        <p:strVal val="visible"/>
                                      </p:to>
                                    </p:set>
                                    <p:animEffect transition="in" filter="box(in)">
                                      <p:cBhvr>
                                        <p:cTn id="54" dur="500"/>
                                        <p:tgtEl>
                                          <p:spTgt spid="2062"/>
                                        </p:tgtEl>
                                      </p:cBhvr>
                                    </p:animEffect>
                                  </p:childTnLst>
                                </p:cTn>
                              </p:par>
                              <p:par>
                                <p:cTn id="55" presetID="4" presetClass="entr" presetSubtype="16" fill="hold"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box(in)">
                                      <p:cBhvr>
                                        <p:cTn id="57" dur="500"/>
                                        <p:tgtEl>
                                          <p:spTgt spid="28"/>
                                        </p:tgtEl>
                                      </p:cBhvr>
                                    </p:animEffect>
                                  </p:childTnLst>
                                </p:cTn>
                              </p:par>
                              <p:par>
                                <p:cTn id="58" presetID="4" presetClass="entr" presetSubtype="16" fill="hold" nodeType="withEffect">
                                  <p:stCondLst>
                                    <p:cond delay="0"/>
                                  </p:stCondLst>
                                  <p:childTnLst>
                                    <p:set>
                                      <p:cBhvr>
                                        <p:cTn id="59" dur="1" fill="hold">
                                          <p:stCondLst>
                                            <p:cond delay="0"/>
                                          </p:stCondLst>
                                        </p:cTn>
                                        <p:tgtEl>
                                          <p:spTgt spid="30"/>
                                        </p:tgtEl>
                                        <p:attrNameLst>
                                          <p:attrName>style.visibility</p:attrName>
                                        </p:attrNameLst>
                                      </p:cBhvr>
                                      <p:to>
                                        <p:strVal val="visible"/>
                                      </p:to>
                                    </p:set>
                                    <p:animEffect transition="in" filter="box(in)">
                                      <p:cBhvr>
                                        <p:cTn id="60" dur="500"/>
                                        <p:tgtEl>
                                          <p:spTgt spid="30"/>
                                        </p:tgtEl>
                                      </p:cBhvr>
                                    </p:animEffect>
                                  </p:childTnLst>
                                </p:cTn>
                              </p:par>
                              <p:par>
                                <p:cTn id="61" presetID="4" presetClass="entr" presetSubtype="16" fill="hold" nodeType="with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box(in)">
                                      <p:cBhvr>
                                        <p:cTn id="63" dur="500"/>
                                        <p:tgtEl>
                                          <p:spTgt spid="29"/>
                                        </p:tgtEl>
                                      </p:cBhvr>
                                    </p:animEffect>
                                  </p:childTnLst>
                                </p:cTn>
                              </p:par>
                              <p:par>
                                <p:cTn id="64" presetID="4" presetClass="entr" presetSubtype="16" fill="hold" nodeType="withEffect">
                                  <p:stCondLst>
                                    <p:cond delay="0"/>
                                  </p:stCondLst>
                                  <p:childTnLst>
                                    <p:set>
                                      <p:cBhvr>
                                        <p:cTn id="65" dur="1" fill="hold">
                                          <p:stCondLst>
                                            <p:cond delay="0"/>
                                          </p:stCondLst>
                                        </p:cTn>
                                        <p:tgtEl>
                                          <p:spTgt spid="2059"/>
                                        </p:tgtEl>
                                        <p:attrNameLst>
                                          <p:attrName>style.visibility</p:attrName>
                                        </p:attrNameLst>
                                      </p:cBhvr>
                                      <p:to>
                                        <p:strVal val="visible"/>
                                      </p:to>
                                    </p:set>
                                    <p:animEffect transition="in" filter="box(in)">
                                      <p:cBhvr>
                                        <p:cTn id="66" dur="500"/>
                                        <p:tgtEl>
                                          <p:spTgt spid="20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84336" y="188640"/>
            <a:ext cx="8520112" cy="647700"/>
          </a:xfrm>
          <a:prstGeom prst="rect">
            <a:avLst/>
          </a:prstGeom>
        </p:spPr>
        <p:txBody>
          <a:bodyPr/>
          <a:lstStyle/>
          <a:p>
            <a:r>
              <a:rPr kumimoji="1" lang="es-PE" sz="2800" b="1" dirty="0" smtClean="0"/>
              <a:t> </a:t>
            </a:r>
            <a:r>
              <a:rPr kumimoji="1" lang="es-PE" sz="2800" b="1" dirty="0" smtClean="0">
                <a:solidFill>
                  <a:schemeClr val="tx2">
                    <a:lumMod val="75000"/>
                  </a:schemeClr>
                </a:solidFill>
              </a:rPr>
              <a:t>5. </a:t>
            </a:r>
            <a:r>
              <a:rPr kumimoji="1" lang="es-PE" sz="2800" b="1" dirty="0" smtClean="0"/>
              <a:t>Expansión vía Alianzas Estratégicas</a:t>
            </a:r>
            <a:r>
              <a:rPr kumimoji="1" lang="es-PE" sz="2800" b="1" dirty="0" smtClean="0">
                <a:solidFill>
                  <a:schemeClr val="bg1"/>
                </a:solidFill>
              </a:rPr>
              <a:t> vía Alianzas Estratégicas</a:t>
            </a:r>
            <a:endParaRPr lang="en-GB" sz="2800" b="1" dirty="0" smtClean="0">
              <a:solidFill>
                <a:schemeClr val="bg1"/>
              </a:solidFill>
              <a:latin typeface="Arial" pitchFamily="34" charset="0"/>
              <a:cs typeface="Arial" pitchFamily="34" charset="0"/>
            </a:endParaRPr>
          </a:p>
        </p:txBody>
      </p:sp>
      <p:pic>
        <p:nvPicPr>
          <p:cNvPr id="6" name="Picture 2"/>
          <p:cNvPicPr>
            <a:picLocks noChangeAspect="1" noChangeArrowheads="1"/>
          </p:cNvPicPr>
          <p:nvPr/>
        </p:nvPicPr>
        <p:blipFill>
          <a:blip r:embed="rId2" cstate="print"/>
          <a:srcRect/>
          <a:stretch>
            <a:fillRect/>
          </a:stretch>
        </p:blipFill>
        <p:spPr bwMode="auto">
          <a:xfrm>
            <a:off x="323528" y="1916832"/>
            <a:ext cx="2880320" cy="4489568"/>
          </a:xfrm>
          <a:prstGeom prst="rect">
            <a:avLst/>
          </a:prstGeom>
          <a:noFill/>
          <a:ln w="9525">
            <a:noFill/>
            <a:miter lim="800000"/>
            <a:headEnd/>
            <a:tailEnd/>
          </a:ln>
          <a:effectLst>
            <a:softEdge rad="63500"/>
          </a:effectLst>
        </p:spPr>
      </p:pic>
      <p:pic>
        <p:nvPicPr>
          <p:cNvPr id="7" name="Picture 3"/>
          <p:cNvPicPr>
            <a:picLocks noChangeAspect="1" noChangeArrowheads="1"/>
          </p:cNvPicPr>
          <p:nvPr/>
        </p:nvPicPr>
        <p:blipFill>
          <a:blip r:embed="rId3" cstate="print"/>
          <a:srcRect/>
          <a:stretch>
            <a:fillRect/>
          </a:stretch>
        </p:blipFill>
        <p:spPr bwMode="auto">
          <a:xfrm>
            <a:off x="3491880" y="1580795"/>
            <a:ext cx="5313517" cy="1992221"/>
          </a:xfrm>
          <a:prstGeom prst="rect">
            <a:avLst/>
          </a:prstGeom>
          <a:noFill/>
          <a:ln w="9525">
            <a:noFill/>
            <a:miter lim="800000"/>
            <a:headEnd/>
            <a:tailEnd/>
          </a:ln>
          <a:effectLst>
            <a:softEdge rad="63500"/>
          </a:effectLst>
        </p:spPr>
      </p:pic>
      <p:pic>
        <p:nvPicPr>
          <p:cNvPr id="8" name="Picture 8"/>
          <p:cNvPicPr>
            <a:picLocks noChangeAspect="1" noChangeArrowheads="1"/>
          </p:cNvPicPr>
          <p:nvPr/>
        </p:nvPicPr>
        <p:blipFill>
          <a:blip r:embed="rId4" cstate="print"/>
          <a:srcRect l="1688" t="21222" r="57208" b="62889"/>
          <a:stretch>
            <a:fillRect/>
          </a:stretch>
        </p:blipFill>
        <p:spPr bwMode="auto">
          <a:xfrm>
            <a:off x="3607187" y="3861048"/>
            <a:ext cx="2981037" cy="936104"/>
          </a:xfrm>
          <a:prstGeom prst="rect">
            <a:avLst/>
          </a:prstGeom>
          <a:noFill/>
          <a:ln w="9525">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9" name="Picture 4"/>
          <p:cNvPicPr>
            <a:picLocks noChangeAspect="1" noChangeArrowheads="1"/>
          </p:cNvPicPr>
          <p:nvPr/>
        </p:nvPicPr>
        <p:blipFill>
          <a:blip r:embed="rId5" cstate="print"/>
          <a:srcRect l="4729" t="20473" r="65854" b="66222"/>
          <a:stretch>
            <a:fillRect/>
          </a:stretch>
        </p:blipFill>
        <p:spPr bwMode="auto">
          <a:xfrm>
            <a:off x="5724128" y="5085184"/>
            <a:ext cx="2939954" cy="1080120"/>
          </a:xfrm>
          <a:prstGeom prst="rect">
            <a:avLst/>
          </a:prstGeom>
          <a:noFill/>
          <a:ln w="9525">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par>
                                <p:cTn id="8" presetID="3" presetClass="entr" presetSubtype="1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par>
                                <p:cTn id="11" presetID="3" presetClass="entr" presetSubtype="1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par>
                                <p:cTn id="14" presetID="3" presetClass="entr" presetSubtype="1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blinds(horizontal)">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2" cstate="print"/>
          <a:srcRect/>
          <a:stretch>
            <a:fillRect/>
          </a:stretch>
        </p:blipFill>
        <p:spPr bwMode="auto">
          <a:xfrm>
            <a:off x="467544" y="1986542"/>
            <a:ext cx="3312368" cy="2378562"/>
          </a:xfrm>
          <a:prstGeom prst="rect">
            <a:avLst/>
          </a:prstGeom>
          <a:noFill/>
          <a:ln w="9525">
            <a:noFill/>
            <a:miter lim="800000"/>
            <a:headEnd/>
            <a:tailEnd/>
          </a:ln>
          <a:effectLst>
            <a:glow rad="101600">
              <a:schemeClr val="accent4">
                <a:satMod val="175000"/>
                <a:alpha val="40000"/>
              </a:schemeClr>
            </a:glow>
            <a:softEdge rad="63500"/>
          </a:effectLst>
        </p:spPr>
      </p:pic>
      <p:pic>
        <p:nvPicPr>
          <p:cNvPr id="3" name="Picture 2"/>
          <p:cNvPicPr>
            <a:picLocks noChangeAspect="1" noChangeArrowheads="1"/>
          </p:cNvPicPr>
          <p:nvPr/>
        </p:nvPicPr>
        <p:blipFill>
          <a:blip r:embed="rId3" cstate="print"/>
          <a:srcRect/>
          <a:stretch>
            <a:fillRect/>
          </a:stretch>
        </p:blipFill>
        <p:spPr bwMode="auto">
          <a:xfrm>
            <a:off x="4010338" y="2060848"/>
            <a:ext cx="4594110" cy="3096344"/>
          </a:xfrm>
          <a:prstGeom prst="rect">
            <a:avLst/>
          </a:prstGeom>
          <a:noFill/>
          <a:ln w="9525">
            <a:noFill/>
            <a:miter lim="800000"/>
            <a:headEnd/>
            <a:tailEnd/>
          </a:ln>
          <a:effectLst>
            <a:glow rad="101600">
              <a:schemeClr val="accent4">
                <a:satMod val="175000"/>
                <a:alpha val="40000"/>
              </a:schemeClr>
            </a:glow>
            <a:softEdge rad="63500"/>
          </a:effectLst>
        </p:spPr>
      </p:pic>
      <p:sp>
        <p:nvSpPr>
          <p:cNvPr id="4" name="Rectangle 2"/>
          <p:cNvSpPr txBox="1">
            <a:spLocks noChangeArrowheads="1"/>
          </p:cNvSpPr>
          <p:nvPr/>
        </p:nvSpPr>
        <p:spPr>
          <a:xfrm>
            <a:off x="84336" y="188640"/>
            <a:ext cx="8520112" cy="647700"/>
          </a:xfrm>
          <a:prstGeom prst="rect">
            <a:avLst/>
          </a:prstGeom>
        </p:spPr>
        <p:txBody>
          <a:bodyPr/>
          <a:lstStyle/>
          <a:p>
            <a:r>
              <a:rPr lang="en-GB" sz="2800" b="1" dirty="0" smtClean="0">
                <a:solidFill>
                  <a:schemeClr val="bg1"/>
                </a:solidFill>
                <a:latin typeface="Arial" pitchFamily="34" charset="0"/>
                <a:cs typeface="Arial" pitchFamily="34" charset="0"/>
              </a:rPr>
              <a:t>6.</a:t>
            </a:r>
            <a:r>
              <a:rPr lang="en-GB" sz="2800" b="1" dirty="0" smtClean="0">
                <a:solidFill>
                  <a:schemeClr val="tx2">
                    <a:lumMod val="75000"/>
                  </a:schemeClr>
                </a:solidFill>
                <a:latin typeface="Arial" pitchFamily="34" charset="0"/>
                <a:cs typeface="Arial" pitchFamily="34" charset="0"/>
              </a:rPr>
              <a:t>6. </a:t>
            </a:r>
            <a:r>
              <a:rPr kumimoji="1" lang="es-PE" sz="2800" b="1" dirty="0" smtClean="0"/>
              <a:t>Exportación de Servicios</a:t>
            </a:r>
            <a:endParaRPr lang="en-GB" sz="2800" b="1" dirty="0" smtClean="0">
              <a:latin typeface="Arial" pitchFamily="34" charset="0"/>
              <a:cs typeface="Arial" pitchFamily="34" charset="0"/>
            </a:endParaRPr>
          </a:p>
          <a:p>
            <a:pPr algn="l" fontAlgn="auto">
              <a:spcAft>
                <a:spcPts val="0"/>
              </a:spcAft>
            </a:pPr>
            <a:r>
              <a:rPr kumimoji="1" lang="es-PE" sz="2800" b="1" dirty="0" err="1" smtClean="0">
                <a:solidFill>
                  <a:schemeClr val="bg1"/>
                </a:solidFill>
              </a:rPr>
              <a:t>ación</a:t>
            </a:r>
            <a:r>
              <a:rPr kumimoji="1" lang="es-PE" sz="2800" b="1" dirty="0" smtClean="0">
                <a:solidFill>
                  <a:schemeClr val="bg1"/>
                </a:solidFill>
              </a:rPr>
              <a:t> de Servicios</a:t>
            </a:r>
            <a:endParaRPr lang="en-GB" sz="2800" b="1" dirty="0" smtClean="0">
              <a:solidFill>
                <a:schemeClr val="bg1"/>
              </a:solidFill>
              <a:latin typeface="Arial" pitchFamily="34" charset="0"/>
              <a:cs typeface="Arial" pitchFamily="34" charset="0"/>
            </a:endParaRPr>
          </a:p>
        </p:txBody>
      </p:sp>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22" presetClass="entr" presetSubtype="4"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down)">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84336" y="188640"/>
            <a:ext cx="8520112" cy="647700"/>
          </a:xfrm>
          <a:prstGeom prst="rect">
            <a:avLst/>
          </a:prstGeom>
        </p:spPr>
        <p:txBody>
          <a:bodyPr/>
          <a:lstStyle/>
          <a:p>
            <a:r>
              <a:rPr lang="es-PE" sz="2800" b="1" dirty="0" smtClean="0">
                <a:solidFill>
                  <a:schemeClr val="bg1"/>
                </a:solidFill>
                <a:latin typeface="Arial" pitchFamily="34" charset="0"/>
                <a:cs typeface="Arial" pitchFamily="34" charset="0"/>
              </a:rPr>
              <a:t>7. </a:t>
            </a:r>
            <a:r>
              <a:rPr kumimoji="1" lang="es-PE" sz="2800" b="1" dirty="0" smtClean="0">
                <a:solidFill>
                  <a:schemeClr val="tx2">
                    <a:lumMod val="75000"/>
                  </a:schemeClr>
                </a:solidFill>
              </a:rPr>
              <a:t>7. </a:t>
            </a:r>
            <a:r>
              <a:rPr kumimoji="1" lang="es-PE" sz="2800" b="1" dirty="0" smtClean="0"/>
              <a:t> Conocimiento del Negociador</a:t>
            </a:r>
            <a:r>
              <a:rPr lang="es-PE" sz="2800" b="1" dirty="0" smtClean="0">
                <a:latin typeface="Arial" pitchFamily="34" charset="0"/>
                <a:cs typeface="Arial" pitchFamily="34" charset="0"/>
              </a:rPr>
              <a:t> </a:t>
            </a:r>
            <a:r>
              <a:rPr kumimoji="1" lang="es-PE" sz="2800" b="1" dirty="0" err="1" smtClean="0">
                <a:solidFill>
                  <a:schemeClr val="bg1"/>
                </a:solidFill>
              </a:rPr>
              <a:t>imiento</a:t>
            </a:r>
            <a:r>
              <a:rPr kumimoji="1" lang="es-PE" sz="2800" b="1" dirty="0" smtClean="0">
                <a:solidFill>
                  <a:schemeClr val="bg1"/>
                </a:solidFill>
              </a:rPr>
              <a:t> del Negociador</a:t>
            </a:r>
            <a:r>
              <a:rPr lang="es-PE" sz="2800" b="1" dirty="0" smtClean="0">
                <a:solidFill>
                  <a:schemeClr val="bg1"/>
                </a:solidFill>
                <a:latin typeface="Arial" pitchFamily="34" charset="0"/>
                <a:cs typeface="Arial" pitchFamily="34" charset="0"/>
              </a:rPr>
              <a:t> </a:t>
            </a:r>
            <a:endParaRPr lang="en-GB" sz="2800" b="1" dirty="0" smtClean="0">
              <a:solidFill>
                <a:schemeClr val="bg1"/>
              </a:solidFill>
              <a:latin typeface="Arial" pitchFamily="34" charset="0"/>
              <a:cs typeface="Arial" pitchFamily="34" charset="0"/>
            </a:endParaRPr>
          </a:p>
        </p:txBody>
      </p:sp>
      <p:sp>
        <p:nvSpPr>
          <p:cNvPr id="3" name="2 CuadroTexto"/>
          <p:cNvSpPr txBox="1"/>
          <p:nvPr/>
        </p:nvSpPr>
        <p:spPr>
          <a:xfrm>
            <a:off x="251520" y="1556792"/>
            <a:ext cx="6696744" cy="2739211"/>
          </a:xfrm>
          <a:prstGeom prst="rect">
            <a:avLst/>
          </a:prstGeom>
          <a:noFill/>
        </p:spPr>
        <p:txBody>
          <a:bodyPr wrap="square" rtlCol="0">
            <a:spAutoFit/>
          </a:bodyPr>
          <a:lstStyle/>
          <a:p>
            <a:pPr algn="l" fontAlgn="auto">
              <a:spcBef>
                <a:spcPts val="0"/>
              </a:spcBef>
              <a:spcAft>
                <a:spcPts val="0"/>
              </a:spcAft>
              <a:buFontTx/>
              <a:buChar char="-"/>
            </a:pPr>
            <a:r>
              <a:rPr lang="es-ES" sz="2400" b="1" dirty="0" smtClean="0">
                <a:solidFill>
                  <a:prstClr val="black"/>
                </a:solidFill>
                <a:latin typeface="Arial" pitchFamily="34" charset="0"/>
                <a:cs typeface="Arial" pitchFamily="34" charset="0"/>
              </a:rPr>
              <a:t> Tips de Negociación: </a:t>
            </a:r>
          </a:p>
          <a:p>
            <a:pPr algn="l" fontAlgn="auto">
              <a:spcBef>
                <a:spcPts val="0"/>
              </a:spcBef>
              <a:spcAft>
                <a:spcPts val="0"/>
              </a:spcAft>
            </a:pPr>
            <a:endParaRPr lang="es-ES" sz="800" b="1" dirty="0" smtClean="0">
              <a:solidFill>
                <a:prstClr val="black"/>
              </a:solidFill>
              <a:latin typeface="Arial" pitchFamily="34" charset="0"/>
              <a:cs typeface="Arial" pitchFamily="34" charset="0"/>
            </a:endParaRPr>
          </a:p>
          <a:p>
            <a:pPr lvl="1" algn="l" fontAlgn="auto">
              <a:spcBef>
                <a:spcPts val="0"/>
              </a:spcBef>
              <a:spcAft>
                <a:spcPts val="0"/>
              </a:spcAft>
              <a:buFont typeface="Wingdings" pitchFamily="2" charset="2"/>
              <a:buChar char="q"/>
            </a:pPr>
            <a:r>
              <a:rPr lang="es-ES" sz="2000" dirty="0" smtClean="0">
                <a:solidFill>
                  <a:prstClr val="black"/>
                </a:solidFill>
                <a:latin typeface="Arial" pitchFamily="34" charset="0"/>
                <a:cs typeface="Arial" pitchFamily="34" charset="0"/>
              </a:rPr>
              <a:t> Estados Unidos</a:t>
            </a:r>
          </a:p>
          <a:p>
            <a:pPr lvl="1" algn="l" fontAlgn="auto">
              <a:spcBef>
                <a:spcPts val="0"/>
              </a:spcBef>
              <a:spcAft>
                <a:spcPts val="0"/>
              </a:spcAft>
            </a:pPr>
            <a:endParaRPr lang="es-ES" sz="2000" dirty="0" smtClean="0">
              <a:solidFill>
                <a:prstClr val="black"/>
              </a:solidFill>
              <a:latin typeface="Arial" pitchFamily="34" charset="0"/>
              <a:cs typeface="Arial" pitchFamily="34" charset="0"/>
            </a:endParaRPr>
          </a:p>
          <a:p>
            <a:pPr lvl="1" algn="l" fontAlgn="auto">
              <a:spcBef>
                <a:spcPts val="0"/>
              </a:spcBef>
              <a:spcAft>
                <a:spcPts val="0"/>
              </a:spcAft>
              <a:buFont typeface="Wingdings" pitchFamily="2" charset="2"/>
              <a:buChar char="q"/>
            </a:pPr>
            <a:r>
              <a:rPr lang="es-ES" sz="2000" dirty="0" smtClean="0">
                <a:solidFill>
                  <a:prstClr val="black"/>
                </a:solidFill>
                <a:latin typeface="Arial" pitchFamily="34" charset="0"/>
                <a:cs typeface="Arial" pitchFamily="34" charset="0"/>
              </a:rPr>
              <a:t> Japón</a:t>
            </a:r>
          </a:p>
          <a:p>
            <a:pPr lvl="1" algn="l" fontAlgn="auto">
              <a:spcBef>
                <a:spcPts val="0"/>
              </a:spcBef>
              <a:spcAft>
                <a:spcPts val="0"/>
              </a:spcAft>
            </a:pPr>
            <a:endParaRPr lang="es-ES" sz="2000" dirty="0" smtClean="0">
              <a:solidFill>
                <a:prstClr val="black"/>
              </a:solidFill>
              <a:latin typeface="Arial" pitchFamily="34" charset="0"/>
              <a:cs typeface="Arial" pitchFamily="34" charset="0"/>
            </a:endParaRPr>
          </a:p>
          <a:p>
            <a:pPr lvl="1" algn="l" fontAlgn="auto">
              <a:spcBef>
                <a:spcPts val="0"/>
              </a:spcBef>
              <a:spcAft>
                <a:spcPts val="0"/>
              </a:spcAft>
              <a:buFont typeface="Wingdings" pitchFamily="2" charset="2"/>
              <a:buChar char="q"/>
            </a:pPr>
            <a:r>
              <a:rPr lang="es-ES" sz="2000" dirty="0" smtClean="0">
                <a:solidFill>
                  <a:prstClr val="black"/>
                </a:solidFill>
                <a:latin typeface="Arial" pitchFamily="34" charset="0"/>
                <a:cs typeface="Arial" pitchFamily="34" charset="0"/>
              </a:rPr>
              <a:t> China</a:t>
            </a:r>
          </a:p>
          <a:p>
            <a:pPr lvl="1" algn="l" fontAlgn="auto">
              <a:spcBef>
                <a:spcPts val="0"/>
              </a:spcBef>
              <a:spcAft>
                <a:spcPts val="0"/>
              </a:spcAft>
              <a:buFont typeface="Wingdings" pitchFamily="2" charset="2"/>
              <a:buChar char="q"/>
            </a:pPr>
            <a:endParaRPr lang="es-ES" sz="2000" dirty="0" smtClean="0">
              <a:solidFill>
                <a:prstClr val="black"/>
              </a:solidFill>
              <a:latin typeface="Arial" pitchFamily="34" charset="0"/>
              <a:cs typeface="Arial" pitchFamily="34" charset="0"/>
            </a:endParaRPr>
          </a:p>
          <a:p>
            <a:pPr lvl="1" algn="l" fontAlgn="auto">
              <a:spcBef>
                <a:spcPts val="0"/>
              </a:spcBef>
              <a:spcAft>
                <a:spcPts val="0"/>
              </a:spcAft>
              <a:buFont typeface="Wingdings" pitchFamily="2" charset="2"/>
              <a:buChar char="q"/>
            </a:pPr>
            <a:r>
              <a:rPr lang="es-ES" sz="2000" dirty="0" smtClean="0">
                <a:solidFill>
                  <a:prstClr val="black"/>
                </a:solidFill>
                <a:latin typeface="Arial" pitchFamily="34" charset="0"/>
                <a:cs typeface="Arial" pitchFamily="34" charset="0"/>
              </a:rPr>
              <a:t> India</a:t>
            </a:r>
            <a:endParaRPr lang="es-ES" sz="2000" dirty="0">
              <a:solidFill>
                <a:prstClr val="black"/>
              </a:solidFill>
              <a:latin typeface="Arial" pitchFamily="34" charset="0"/>
              <a:cs typeface="Arial" pitchFamily="34" charset="0"/>
            </a:endParaRPr>
          </a:p>
        </p:txBody>
      </p:sp>
      <p:pic>
        <p:nvPicPr>
          <p:cNvPr id="132098" name="Picture 2"/>
          <p:cNvPicPr>
            <a:picLocks noChangeAspect="1" noChangeArrowheads="1"/>
          </p:cNvPicPr>
          <p:nvPr/>
        </p:nvPicPr>
        <p:blipFill>
          <a:blip r:embed="rId2" cstate="print"/>
          <a:srcRect/>
          <a:stretch>
            <a:fillRect/>
          </a:stretch>
        </p:blipFill>
        <p:spPr bwMode="auto">
          <a:xfrm>
            <a:off x="5220072" y="4189729"/>
            <a:ext cx="3923928" cy="2668271"/>
          </a:xfrm>
          <a:prstGeom prst="rect">
            <a:avLst/>
          </a:prstGeom>
          <a:noFill/>
          <a:ln w="9525">
            <a:noFill/>
            <a:miter lim="800000"/>
            <a:headEnd/>
            <a:tailEnd/>
          </a:ln>
          <a:effectLst>
            <a:glow rad="101600">
              <a:schemeClr val="accent4">
                <a:satMod val="175000"/>
                <a:alpha val="40000"/>
              </a:schemeClr>
            </a:glow>
            <a:reflection blurRad="6350" stA="52000" endA="300" endPos="35000" dir="5400000" sy="-100000" algn="bl" rotWithShape="0"/>
            <a:softEdge rad="31750"/>
          </a:effectLst>
        </p:spPr>
      </p:pic>
      <p:pic>
        <p:nvPicPr>
          <p:cNvPr id="132099" name="Picture 3"/>
          <p:cNvPicPr>
            <a:picLocks noChangeAspect="1" noChangeArrowheads="1"/>
          </p:cNvPicPr>
          <p:nvPr/>
        </p:nvPicPr>
        <p:blipFill>
          <a:blip r:embed="rId3" cstate="print"/>
          <a:srcRect/>
          <a:stretch>
            <a:fillRect/>
          </a:stretch>
        </p:blipFill>
        <p:spPr bwMode="auto">
          <a:xfrm>
            <a:off x="2915816" y="2564904"/>
            <a:ext cx="5827314" cy="1368152"/>
          </a:xfrm>
          <a:prstGeom prst="rect">
            <a:avLst/>
          </a:prstGeom>
          <a:noFill/>
          <a:ln w="9525">
            <a:noFill/>
            <a:miter lim="800000"/>
            <a:headEnd/>
            <a:tailEnd/>
          </a:ln>
        </p:spPr>
      </p:pic>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5"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vertical)">
                                      <p:cBhvr>
                                        <p:cTn id="7" dur="500"/>
                                        <p:tgtEl>
                                          <p:spTgt spid="3"/>
                                        </p:tgtEl>
                                      </p:cBhvr>
                                    </p:animEffect>
                                  </p:childTnLst>
                                </p:cTn>
                              </p:par>
                              <p:par>
                                <p:cTn id="8" presetID="3" presetClass="entr" presetSubtype="5" fill="hold" nodeType="withEffect">
                                  <p:stCondLst>
                                    <p:cond delay="0"/>
                                  </p:stCondLst>
                                  <p:childTnLst>
                                    <p:set>
                                      <p:cBhvr>
                                        <p:cTn id="9" dur="1" fill="hold">
                                          <p:stCondLst>
                                            <p:cond delay="0"/>
                                          </p:stCondLst>
                                        </p:cTn>
                                        <p:tgtEl>
                                          <p:spTgt spid="132099"/>
                                        </p:tgtEl>
                                        <p:attrNameLst>
                                          <p:attrName>style.visibility</p:attrName>
                                        </p:attrNameLst>
                                      </p:cBhvr>
                                      <p:to>
                                        <p:strVal val="visible"/>
                                      </p:to>
                                    </p:set>
                                    <p:animEffect transition="in" filter="blinds(vertical)">
                                      <p:cBhvr>
                                        <p:cTn id="10" dur="500"/>
                                        <p:tgtEl>
                                          <p:spTgt spid="132099"/>
                                        </p:tgtEl>
                                      </p:cBhvr>
                                    </p:animEffect>
                                  </p:childTnLst>
                                </p:cTn>
                              </p:par>
                              <p:par>
                                <p:cTn id="11" presetID="3" presetClass="entr" presetSubtype="5" fill="hold" nodeType="withEffect">
                                  <p:stCondLst>
                                    <p:cond delay="0"/>
                                  </p:stCondLst>
                                  <p:childTnLst>
                                    <p:set>
                                      <p:cBhvr>
                                        <p:cTn id="12" dur="1" fill="hold">
                                          <p:stCondLst>
                                            <p:cond delay="0"/>
                                          </p:stCondLst>
                                        </p:cTn>
                                        <p:tgtEl>
                                          <p:spTgt spid="132098"/>
                                        </p:tgtEl>
                                        <p:attrNameLst>
                                          <p:attrName>style.visibility</p:attrName>
                                        </p:attrNameLst>
                                      </p:cBhvr>
                                      <p:to>
                                        <p:strVal val="visible"/>
                                      </p:to>
                                    </p:set>
                                    <p:animEffect transition="in" filter="blinds(vertical)">
                                      <p:cBhvr>
                                        <p:cTn id="13" dur="500"/>
                                        <p:tgtEl>
                                          <p:spTgt spid="132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CuadroTexto"/>
          <p:cNvSpPr txBox="1"/>
          <p:nvPr/>
        </p:nvSpPr>
        <p:spPr>
          <a:xfrm>
            <a:off x="1332282" y="2852936"/>
            <a:ext cx="1674186" cy="57888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A. Envejecimiento de la población</a:t>
            </a:r>
          </a:p>
        </p:txBody>
      </p:sp>
      <p:sp>
        <p:nvSpPr>
          <p:cNvPr id="7" name="6 CuadroTexto"/>
          <p:cNvSpPr txBox="1"/>
          <p:nvPr/>
        </p:nvSpPr>
        <p:spPr>
          <a:xfrm>
            <a:off x="5786350" y="2852936"/>
            <a:ext cx="1944858" cy="10556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C. Mayor nivel educativo en economías emergentes</a:t>
            </a:r>
          </a:p>
        </p:txBody>
      </p:sp>
      <p:sp>
        <p:nvSpPr>
          <p:cNvPr id="8" name="7 CuadroTexto"/>
          <p:cNvSpPr txBox="1"/>
          <p:nvPr/>
        </p:nvSpPr>
        <p:spPr>
          <a:xfrm>
            <a:off x="3437232" y="2852936"/>
            <a:ext cx="1944858" cy="10556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B. Aumento de la participación de la mujer en la fuerza laboral</a:t>
            </a:r>
          </a:p>
        </p:txBody>
      </p:sp>
      <p:sp>
        <p:nvSpPr>
          <p:cNvPr id="9" name="8 CuadroTexto"/>
          <p:cNvSpPr txBox="1"/>
          <p:nvPr/>
        </p:nvSpPr>
        <p:spPr>
          <a:xfrm>
            <a:off x="2114727" y="5061080"/>
            <a:ext cx="2214246" cy="10556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Menor ventaja comparativa en productos intensivos en mano de obra</a:t>
            </a:r>
          </a:p>
        </p:txBody>
      </p:sp>
      <p:sp>
        <p:nvSpPr>
          <p:cNvPr id="10" name="9 CuadroTexto"/>
          <p:cNvSpPr txBox="1"/>
          <p:nvPr/>
        </p:nvSpPr>
        <p:spPr>
          <a:xfrm>
            <a:off x="5574085" y="4465722"/>
            <a:ext cx="2214246" cy="8172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Más ventaja comparativa en productos sofisticados</a:t>
            </a:r>
          </a:p>
        </p:txBody>
      </p:sp>
      <p:sp>
        <p:nvSpPr>
          <p:cNvPr id="11" name="10 CuadroTexto"/>
          <p:cNvSpPr txBox="1"/>
          <p:nvPr/>
        </p:nvSpPr>
        <p:spPr>
          <a:xfrm>
            <a:off x="3626574" y="3885560"/>
            <a:ext cx="1566174" cy="10556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Tasa de fecundidad (hijos por mujer) menor</a:t>
            </a:r>
          </a:p>
        </p:txBody>
      </p:sp>
      <p:sp>
        <p:nvSpPr>
          <p:cNvPr id="12" name="11 CuadroTexto"/>
          <p:cNvSpPr txBox="1"/>
          <p:nvPr/>
        </p:nvSpPr>
        <p:spPr>
          <a:xfrm>
            <a:off x="5598114" y="5373218"/>
            <a:ext cx="2214246" cy="919401"/>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600" b="1" dirty="0"/>
              <a:t>Mayor importancia del comercio </a:t>
            </a:r>
            <a:r>
              <a:rPr lang="es-ES" sz="1600" b="1" dirty="0" err="1"/>
              <a:t>intraindustrial</a:t>
            </a:r>
            <a:endParaRPr lang="es-ES" sz="1600" b="1" dirty="0"/>
          </a:p>
        </p:txBody>
      </p:sp>
      <p:sp>
        <p:nvSpPr>
          <p:cNvPr id="13" name="12 CuadroTexto"/>
          <p:cNvSpPr txBox="1"/>
          <p:nvPr/>
        </p:nvSpPr>
        <p:spPr>
          <a:xfrm>
            <a:off x="4499992" y="2060848"/>
            <a:ext cx="2214246" cy="57888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Más hogares en clase media</a:t>
            </a:r>
          </a:p>
        </p:txBody>
      </p:sp>
      <p:sp>
        <p:nvSpPr>
          <p:cNvPr id="14" name="13 CuadroTexto"/>
          <p:cNvSpPr txBox="1"/>
          <p:nvPr/>
        </p:nvSpPr>
        <p:spPr>
          <a:xfrm>
            <a:off x="4139952" y="1340066"/>
            <a:ext cx="2754627" cy="646986"/>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600" b="1" dirty="0"/>
              <a:t>Mayor demanda de bienes de consumo</a:t>
            </a:r>
          </a:p>
        </p:txBody>
      </p:sp>
      <p:sp>
        <p:nvSpPr>
          <p:cNvPr id="16" name="15 Flecha derecha"/>
          <p:cNvSpPr/>
          <p:nvPr/>
        </p:nvSpPr>
        <p:spPr>
          <a:xfrm>
            <a:off x="4328973" y="5589240"/>
            <a:ext cx="1269141" cy="1440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CuadroTexto"/>
          <p:cNvSpPr txBox="1"/>
          <p:nvPr/>
        </p:nvSpPr>
        <p:spPr>
          <a:xfrm>
            <a:off x="1334868" y="6062215"/>
            <a:ext cx="2754627" cy="817245"/>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b="1" dirty="0"/>
              <a:t>Mayor demanda de servicios (principalmente salud y turismo)</a:t>
            </a:r>
          </a:p>
        </p:txBody>
      </p:sp>
      <p:sp>
        <p:nvSpPr>
          <p:cNvPr id="30" name="29 CuadroTexto"/>
          <p:cNvSpPr txBox="1"/>
          <p:nvPr/>
        </p:nvSpPr>
        <p:spPr>
          <a:xfrm>
            <a:off x="1187624" y="1300698"/>
            <a:ext cx="2898322" cy="400110"/>
          </a:xfrm>
          <a:prstGeom prst="rect">
            <a:avLst/>
          </a:prstGeom>
          <a:noFill/>
        </p:spPr>
        <p:txBody>
          <a:bodyPr wrap="square" rtlCol="0">
            <a:spAutoFit/>
          </a:bodyPr>
          <a:lstStyle/>
          <a:p>
            <a:r>
              <a:rPr lang="es-ES" sz="2000" b="1" u="sng" dirty="0" smtClean="0"/>
              <a:t>Cambio </a:t>
            </a:r>
            <a:r>
              <a:rPr lang="es-ES" sz="2000" b="1" u="sng" dirty="0"/>
              <a:t>demográfico</a:t>
            </a:r>
          </a:p>
        </p:txBody>
      </p:sp>
      <p:sp>
        <p:nvSpPr>
          <p:cNvPr id="24" name="1 Título"/>
          <p:cNvSpPr>
            <a:spLocks noGrp="1"/>
          </p:cNvSpPr>
          <p:nvPr>
            <p:ph type="title"/>
          </p:nvPr>
        </p:nvSpPr>
        <p:spPr>
          <a:xfrm>
            <a:off x="457200" y="152718"/>
            <a:ext cx="8075240" cy="1044034"/>
          </a:xfrm>
          <a:ln>
            <a:noFill/>
          </a:ln>
        </p:spPr>
        <p:txBody>
          <a:bodyPr>
            <a:normAutofit/>
          </a:bodyPr>
          <a:lstStyle/>
          <a:p>
            <a:r>
              <a:rPr lang="es-ES" sz="2800" dirty="0" smtClean="0"/>
              <a:t>i.	</a:t>
            </a:r>
            <a:r>
              <a:rPr lang="es-ES" sz="2800" dirty="0" smtClean="0">
                <a:solidFill>
                  <a:schemeClr val="tx1"/>
                </a:solidFill>
              </a:rPr>
              <a:t>CONDICIONES DEL </a:t>
            </a:r>
            <a:br>
              <a:rPr lang="es-ES" sz="2800" dirty="0" smtClean="0">
                <a:solidFill>
                  <a:schemeClr val="tx1"/>
                </a:solidFill>
              </a:rPr>
            </a:br>
            <a:r>
              <a:rPr lang="es-ES" sz="2800" dirty="0">
                <a:solidFill>
                  <a:schemeClr val="tx1"/>
                </a:solidFill>
              </a:rPr>
              <a:t>	</a:t>
            </a:r>
            <a:r>
              <a:rPr lang="es-ES" sz="2800" dirty="0" smtClean="0">
                <a:solidFill>
                  <a:schemeClr val="tx1"/>
                </a:solidFill>
              </a:rPr>
              <a:t>ENTORNO</a:t>
            </a:r>
            <a:endParaRPr lang="es-ES" sz="2800" dirty="0">
              <a:solidFill>
                <a:schemeClr val="tx1"/>
              </a:solidFill>
            </a:endParaRPr>
          </a:p>
        </p:txBody>
      </p:sp>
      <p:cxnSp>
        <p:nvCxnSpPr>
          <p:cNvPr id="26" name="25 Conector recto de flecha"/>
          <p:cNvCxnSpPr/>
          <p:nvPr/>
        </p:nvCxnSpPr>
        <p:spPr>
          <a:xfrm>
            <a:off x="2771800" y="3573016"/>
            <a:ext cx="0" cy="136815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31 Conector recto de flecha"/>
          <p:cNvCxnSpPr/>
          <p:nvPr/>
        </p:nvCxnSpPr>
        <p:spPr>
          <a:xfrm>
            <a:off x="1907704" y="3573016"/>
            <a:ext cx="0" cy="23762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37 Conector recto de flecha"/>
          <p:cNvCxnSpPr/>
          <p:nvPr/>
        </p:nvCxnSpPr>
        <p:spPr>
          <a:xfrm flipV="1">
            <a:off x="5004048" y="2420888"/>
            <a:ext cx="0" cy="4320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44 Conector recto de flecha"/>
          <p:cNvCxnSpPr/>
          <p:nvPr/>
        </p:nvCxnSpPr>
        <p:spPr>
          <a:xfrm flipV="1">
            <a:off x="6588224" y="2492896"/>
            <a:ext cx="0" cy="36004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0" name="49 Conector recto de flecha"/>
          <p:cNvCxnSpPr/>
          <p:nvPr/>
        </p:nvCxnSpPr>
        <p:spPr>
          <a:xfrm>
            <a:off x="3995936" y="3717032"/>
            <a:ext cx="0" cy="36004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57" name="56 Conector recto de flecha"/>
          <p:cNvCxnSpPr/>
          <p:nvPr/>
        </p:nvCxnSpPr>
        <p:spPr>
          <a:xfrm>
            <a:off x="3995936" y="4581128"/>
            <a:ext cx="0" cy="576064"/>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72" name="71 Conector recto de flecha"/>
          <p:cNvCxnSpPr/>
          <p:nvPr/>
        </p:nvCxnSpPr>
        <p:spPr>
          <a:xfrm flipV="1">
            <a:off x="6588224" y="3717032"/>
            <a:ext cx="0" cy="7920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2" name="81 Conector recto de flecha"/>
          <p:cNvCxnSpPr>
            <a:stCxn id="10" idx="2"/>
          </p:cNvCxnSpPr>
          <p:nvPr/>
        </p:nvCxnSpPr>
        <p:spPr>
          <a:xfrm flipH="1">
            <a:off x="6660232" y="5282967"/>
            <a:ext cx="20976" cy="306273"/>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1572720"/>
      </p:ext>
    </p:extLst>
  </p:cSld>
  <p:clrMapOvr>
    <a:masterClrMapping/>
  </p:clrMapOvr>
  <p:transition spd="slow">
    <p:push dir="u"/>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3"/>
          <p:cNvGrpSpPr>
            <a:grpSpLocks/>
          </p:cNvGrpSpPr>
          <p:nvPr/>
        </p:nvGrpSpPr>
        <p:grpSpPr bwMode="auto">
          <a:xfrm>
            <a:off x="0" y="3212976"/>
            <a:ext cx="9144000" cy="1676400"/>
            <a:chOff x="0" y="2086"/>
            <a:chExt cx="5760" cy="1056"/>
          </a:xfrm>
        </p:grpSpPr>
        <p:sp>
          <p:nvSpPr>
            <p:cNvPr id="3" name="Rectangle 3"/>
            <p:cNvSpPr>
              <a:spLocks noChangeArrowheads="1"/>
            </p:cNvSpPr>
            <p:nvPr/>
          </p:nvSpPr>
          <p:spPr bwMode="gray">
            <a:xfrm>
              <a:off x="0" y="2325"/>
              <a:ext cx="5760" cy="817"/>
            </a:xfrm>
            <a:prstGeom prst="rect">
              <a:avLst/>
            </a:prstGeom>
            <a:gradFill rotWithShape="1">
              <a:gsLst>
                <a:gs pos="0">
                  <a:srgbClr val="DDDDDD"/>
                </a:gs>
                <a:gs pos="100000">
                  <a:srgbClr val="FFFFFF"/>
                </a:gs>
              </a:gsLst>
              <a:lin ang="5400000" scaled="1"/>
            </a:gradFill>
            <a:ln w="9525">
              <a:noFill/>
              <a:miter lim="800000"/>
              <a:headEnd/>
              <a:tailEnd/>
            </a:ln>
          </p:spPr>
          <p:txBody>
            <a:bodyPr wrap="none" lIns="90000" tIns="90000" rIns="72000" bIns="90000" anchor="ctr"/>
            <a:lstStyle/>
            <a:p>
              <a:pPr eaLnBrk="0" hangingPunct="0"/>
              <a:endParaRPr lang="es-PE">
                <a:solidFill>
                  <a:srgbClr val="000000"/>
                </a:solidFill>
              </a:endParaRPr>
            </a:p>
          </p:txBody>
        </p:sp>
        <p:sp>
          <p:nvSpPr>
            <p:cNvPr id="4" name="Rectangle 25"/>
            <p:cNvSpPr>
              <a:spLocks noChangeArrowheads="1"/>
            </p:cNvSpPr>
            <p:nvPr/>
          </p:nvSpPr>
          <p:spPr bwMode="gray">
            <a:xfrm flipV="1">
              <a:off x="0" y="2086"/>
              <a:ext cx="5760" cy="246"/>
            </a:xfrm>
            <a:prstGeom prst="rect">
              <a:avLst/>
            </a:prstGeom>
            <a:gradFill rotWithShape="1">
              <a:gsLst>
                <a:gs pos="0">
                  <a:srgbClr val="DBDBDB"/>
                </a:gs>
                <a:gs pos="100000">
                  <a:srgbClr val="FFFFFF"/>
                </a:gs>
              </a:gsLst>
              <a:lin ang="5400000" scaled="1"/>
            </a:gradFill>
            <a:ln w="9525">
              <a:noFill/>
              <a:miter lim="800000"/>
              <a:headEnd/>
              <a:tailEnd/>
            </a:ln>
          </p:spPr>
          <p:txBody>
            <a:bodyPr rot="10800000" wrap="none" lIns="90000" tIns="90000" rIns="72000" bIns="90000" anchor="ctr"/>
            <a:lstStyle/>
            <a:p>
              <a:pPr eaLnBrk="0" hangingPunct="0"/>
              <a:endParaRPr lang="es-PE">
                <a:solidFill>
                  <a:srgbClr val="000000"/>
                </a:solidFill>
              </a:endParaRPr>
            </a:p>
          </p:txBody>
        </p:sp>
      </p:grpSp>
      <p:pic>
        <p:nvPicPr>
          <p:cNvPr id="5" name="Picture 9"/>
          <p:cNvPicPr>
            <a:picLocks noChangeAspect="1" noChangeArrowheads="1"/>
          </p:cNvPicPr>
          <p:nvPr/>
        </p:nvPicPr>
        <p:blipFill>
          <a:blip r:embed="rId2" cstate="print"/>
          <a:srcRect/>
          <a:stretch>
            <a:fillRect/>
          </a:stretch>
        </p:blipFill>
        <p:spPr bwMode="gray">
          <a:xfrm>
            <a:off x="2134047" y="4675239"/>
            <a:ext cx="4679950" cy="438150"/>
          </a:xfrm>
          <a:prstGeom prst="rect">
            <a:avLst/>
          </a:prstGeom>
          <a:noFill/>
          <a:ln w="9525">
            <a:noFill/>
            <a:miter lim="800000"/>
            <a:headEnd/>
            <a:tailEnd/>
          </a:ln>
        </p:spPr>
      </p:pic>
      <p:grpSp>
        <p:nvGrpSpPr>
          <p:cNvPr id="6" name="Group 62"/>
          <p:cNvGrpSpPr>
            <a:grpSpLocks/>
          </p:cNvGrpSpPr>
          <p:nvPr/>
        </p:nvGrpSpPr>
        <p:grpSpPr bwMode="auto">
          <a:xfrm>
            <a:off x="2483768" y="980728"/>
            <a:ext cx="4269258" cy="4016774"/>
            <a:chOff x="1869" y="1671"/>
            <a:chExt cx="2046" cy="1925"/>
          </a:xfrm>
        </p:grpSpPr>
        <p:sp>
          <p:nvSpPr>
            <p:cNvPr id="7" name="Freeform 31"/>
            <p:cNvSpPr>
              <a:spLocks/>
            </p:cNvSpPr>
            <p:nvPr/>
          </p:nvSpPr>
          <p:spPr bwMode="gray">
            <a:xfrm>
              <a:off x="2127" y="2069"/>
              <a:ext cx="750" cy="1312"/>
            </a:xfrm>
            <a:custGeom>
              <a:avLst/>
              <a:gdLst>
                <a:gd name="T0" fmla="*/ 0 w 1859"/>
                <a:gd name="T1" fmla="*/ 0 h 3212"/>
                <a:gd name="T2" fmla="*/ 0 w 1859"/>
                <a:gd name="T3" fmla="*/ 0 h 3212"/>
                <a:gd name="T4" fmla="*/ 0 w 1859"/>
                <a:gd name="T5" fmla="*/ 0 h 3212"/>
                <a:gd name="T6" fmla="*/ 0 w 1859"/>
                <a:gd name="T7" fmla="*/ 0 h 3212"/>
                <a:gd name="T8" fmla="*/ 0 60000 65536"/>
                <a:gd name="T9" fmla="*/ 0 60000 65536"/>
                <a:gd name="T10" fmla="*/ 0 60000 65536"/>
                <a:gd name="T11" fmla="*/ 0 60000 65536"/>
                <a:gd name="T12" fmla="*/ 0 w 1859"/>
                <a:gd name="T13" fmla="*/ 0 h 3212"/>
                <a:gd name="T14" fmla="*/ 1859 w 1859"/>
                <a:gd name="T15" fmla="*/ 3212 h 3212"/>
              </a:gdLst>
              <a:ahLst/>
              <a:cxnLst>
                <a:cxn ang="T8">
                  <a:pos x="T0" y="T1"/>
                </a:cxn>
                <a:cxn ang="T9">
                  <a:pos x="T2" y="T3"/>
                </a:cxn>
                <a:cxn ang="T10">
                  <a:pos x="T4" y="T5"/>
                </a:cxn>
                <a:cxn ang="T11">
                  <a:pos x="T6" y="T7"/>
                </a:cxn>
              </a:cxnLst>
              <a:rect l="T12" t="T13" r="T14" b="T15"/>
              <a:pathLst>
                <a:path w="1859" h="3212">
                  <a:moveTo>
                    <a:pt x="1859" y="0"/>
                  </a:moveTo>
                  <a:lnTo>
                    <a:pt x="0" y="3212"/>
                  </a:lnTo>
                  <a:lnTo>
                    <a:pt x="1859" y="1769"/>
                  </a:lnTo>
                  <a:lnTo>
                    <a:pt x="1859" y="0"/>
                  </a:lnTo>
                  <a:close/>
                </a:path>
              </a:pathLst>
            </a:custGeom>
            <a:gradFill rotWithShape="1">
              <a:gsLst>
                <a:gs pos="0">
                  <a:srgbClr val="6B9B1A"/>
                </a:gs>
                <a:gs pos="50000">
                  <a:srgbClr val="476711"/>
                </a:gs>
                <a:gs pos="100000">
                  <a:srgbClr val="6B9B1A"/>
                </a:gs>
              </a:gsLst>
              <a:lin ang="18900000" scaled="1"/>
            </a:gradFill>
            <a:ln w="9525">
              <a:solidFill>
                <a:srgbClr val="919191"/>
              </a:solidFill>
              <a:miter lim="800000"/>
              <a:headEnd/>
              <a:tailEnd/>
            </a:ln>
          </p:spPr>
          <p:txBody>
            <a:bodyPr wrap="none" anchor="ctr"/>
            <a:lstStyle/>
            <a:p>
              <a:endParaRPr lang="es-PE">
                <a:solidFill>
                  <a:srgbClr val="000000"/>
                </a:solidFill>
              </a:endParaRPr>
            </a:p>
          </p:txBody>
        </p:sp>
        <p:sp>
          <p:nvSpPr>
            <p:cNvPr id="8" name="Freeform 35"/>
            <p:cNvSpPr>
              <a:spLocks/>
            </p:cNvSpPr>
            <p:nvPr/>
          </p:nvSpPr>
          <p:spPr bwMode="gray">
            <a:xfrm>
              <a:off x="2137" y="2797"/>
              <a:ext cx="1505" cy="591"/>
            </a:xfrm>
            <a:custGeom>
              <a:avLst/>
              <a:gdLst>
                <a:gd name="T0" fmla="*/ 0 w 3730"/>
                <a:gd name="T1" fmla="*/ 0 h 1448"/>
                <a:gd name="T2" fmla="*/ 0 w 3730"/>
                <a:gd name="T3" fmla="*/ 0 h 1448"/>
                <a:gd name="T4" fmla="*/ 0 w 3730"/>
                <a:gd name="T5" fmla="*/ 0 h 1448"/>
                <a:gd name="T6" fmla="*/ 0 w 3730"/>
                <a:gd name="T7" fmla="*/ 0 h 1448"/>
                <a:gd name="T8" fmla="*/ 0 60000 65536"/>
                <a:gd name="T9" fmla="*/ 0 60000 65536"/>
                <a:gd name="T10" fmla="*/ 0 60000 65536"/>
                <a:gd name="T11" fmla="*/ 0 60000 65536"/>
                <a:gd name="T12" fmla="*/ 0 w 3730"/>
                <a:gd name="T13" fmla="*/ 0 h 1448"/>
                <a:gd name="T14" fmla="*/ 3730 w 3730"/>
                <a:gd name="T15" fmla="*/ 1448 h 1448"/>
              </a:gdLst>
              <a:ahLst/>
              <a:cxnLst>
                <a:cxn ang="T8">
                  <a:pos x="T0" y="T1"/>
                </a:cxn>
                <a:cxn ang="T9">
                  <a:pos x="T2" y="T3"/>
                </a:cxn>
                <a:cxn ang="T10">
                  <a:pos x="T4" y="T5"/>
                </a:cxn>
                <a:cxn ang="T11">
                  <a:pos x="T6" y="T7"/>
                </a:cxn>
              </a:cxnLst>
              <a:rect l="T12" t="T13" r="T14" b="T15"/>
              <a:pathLst>
                <a:path w="3730" h="1448">
                  <a:moveTo>
                    <a:pt x="1859" y="0"/>
                  </a:moveTo>
                  <a:lnTo>
                    <a:pt x="0" y="1441"/>
                  </a:lnTo>
                  <a:lnTo>
                    <a:pt x="3730" y="1448"/>
                  </a:lnTo>
                  <a:lnTo>
                    <a:pt x="1859" y="0"/>
                  </a:lnTo>
                  <a:close/>
                </a:path>
              </a:pathLst>
            </a:custGeom>
            <a:gradFill rotWithShape="1">
              <a:gsLst>
                <a:gs pos="0">
                  <a:srgbClr val="90BA45"/>
                </a:gs>
                <a:gs pos="50000">
                  <a:srgbClr val="5F7B2E"/>
                </a:gs>
                <a:gs pos="100000">
                  <a:srgbClr val="90BA45"/>
                </a:gs>
              </a:gsLst>
              <a:lin ang="18900000" scaled="1"/>
            </a:gradFill>
            <a:ln w="9525" cap="flat" cmpd="sng">
              <a:solidFill>
                <a:srgbClr val="919191"/>
              </a:solidFill>
              <a:prstDash val="solid"/>
              <a:miter lim="800000"/>
              <a:headEnd type="none" w="med" len="med"/>
              <a:tailEnd type="none" w="med" len="med"/>
            </a:ln>
          </p:spPr>
          <p:txBody>
            <a:bodyPr wrap="none" anchor="ctr"/>
            <a:lstStyle/>
            <a:p>
              <a:endParaRPr lang="es-PE">
                <a:solidFill>
                  <a:srgbClr val="000000"/>
                </a:solidFill>
              </a:endParaRPr>
            </a:p>
          </p:txBody>
        </p:sp>
        <p:sp>
          <p:nvSpPr>
            <p:cNvPr id="9" name="Freeform 39"/>
            <p:cNvSpPr>
              <a:spLocks/>
            </p:cNvSpPr>
            <p:nvPr/>
          </p:nvSpPr>
          <p:spPr bwMode="gray">
            <a:xfrm>
              <a:off x="2886" y="2072"/>
              <a:ext cx="760" cy="1313"/>
            </a:xfrm>
            <a:custGeom>
              <a:avLst/>
              <a:gdLst>
                <a:gd name="T0" fmla="*/ 309 w 1871"/>
                <a:gd name="T1" fmla="*/ 535 h 3220"/>
                <a:gd name="T2" fmla="*/ 0 w 1871"/>
                <a:gd name="T3" fmla="*/ 0 h 3220"/>
                <a:gd name="T4" fmla="*/ 0 w 1871"/>
                <a:gd name="T5" fmla="*/ 294 h 3220"/>
                <a:gd name="T6" fmla="*/ 309 w 1871"/>
                <a:gd name="T7" fmla="*/ 535 h 3220"/>
                <a:gd name="T8" fmla="*/ 0 60000 65536"/>
                <a:gd name="T9" fmla="*/ 0 60000 65536"/>
                <a:gd name="T10" fmla="*/ 0 60000 65536"/>
                <a:gd name="T11" fmla="*/ 0 60000 65536"/>
                <a:gd name="T12" fmla="*/ 0 w 1871"/>
                <a:gd name="T13" fmla="*/ 0 h 3220"/>
                <a:gd name="T14" fmla="*/ 1871 w 1871"/>
                <a:gd name="T15" fmla="*/ 3220 h 3220"/>
              </a:gdLst>
              <a:ahLst/>
              <a:cxnLst>
                <a:cxn ang="T8">
                  <a:pos x="T0" y="T1"/>
                </a:cxn>
                <a:cxn ang="T9">
                  <a:pos x="T2" y="T3"/>
                </a:cxn>
                <a:cxn ang="T10">
                  <a:pos x="T4" y="T5"/>
                </a:cxn>
                <a:cxn ang="T11">
                  <a:pos x="T6" y="T7"/>
                </a:cxn>
              </a:cxnLst>
              <a:rect l="T12" t="T13" r="T14" b="T15"/>
              <a:pathLst>
                <a:path w="1871" h="3220">
                  <a:moveTo>
                    <a:pt x="1871" y="3220"/>
                  </a:moveTo>
                  <a:lnTo>
                    <a:pt x="0" y="0"/>
                  </a:lnTo>
                  <a:lnTo>
                    <a:pt x="0" y="1770"/>
                  </a:lnTo>
                  <a:lnTo>
                    <a:pt x="1871" y="3220"/>
                  </a:lnTo>
                  <a:close/>
                </a:path>
              </a:pathLst>
            </a:custGeom>
            <a:gradFill rotWithShape="1">
              <a:gsLst>
                <a:gs pos="0">
                  <a:srgbClr val="4C7013"/>
                </a:gs>
                <a:gs pos="50000">
                  <a:srgbClr val="324A0D"/>
                </a:gs>
                <a:gs pos="100000">
                  <a:srgbClr val="4C7013"/>
                </a:gs>
              </a:gsLst>
              <a:lin ang="18900000" scaled="1"/>
            </a:gradFill>
            <a:ln w="9525" cap="flat" cmpd="sng">
              <a:solidFill>
                <a:srgbClr val="919191"/>
              </a:solidFill>
              <a:prstDash val="solid"/>
              <a:miter lim="800000"/>
              <a:headEnd type="none" w="med" len="med"/>
              <a:tailEnd type="none" w="med" len="med"/>
            </a:ln>
          </p:spPr>
          <p:txBody>
            <a:bodyPr wrap="none" anchor="ctr"/>
            <a:lstStyle/>
            <a:p>
              <a:endParaRPr lang="es-PE">
                <a:solidFill>
                  <a:srgbClr val="000000"/>
                </a:solidFill>
              </a:endParaRPr>
            </a:p>
          </p:txBody>
        </p:sp>
        <p:cxnSp>
          <p:nvCxnSpPr>
            <p:cNvPr id="10" name="Gerade Verbindung mit Pfeil 12"/>
            <p:cNvCxnSpPr>
              <a:cxnSpLocks noChangeShapeType="1"/>
            </p:cNvCxnSpPr>
            <p:nvPr/>
          </p:nvCxnSpPr>
          <p:spPr bwMode="gray">
            <a:xfrm rot="5400000" flipH="1" flipV="1">
              <a:off x="2317" y="2233"/>
              <a:ext cx="1126" cy="2"/>
            </a:xfrm>
            <a:prstGeom prst="straightConnector1">
              <a:avLst/>
            </a:prstGeom>
            <a:noFill/>
            <a:ln w="22225" algn="ctr">
              <a:solidFill>
                <a:srgbClr val="919191"/>
              </a:solidFill>
              <a:round/>
              <a:headEnd/>
              <a:tailEnd type="triangle" w="med" len="med"/>
            </a:ln>
          </p:spPr>
        </p:cxnSp>
        <p:cxnSp>
          <p:nvCxnSpPr>
            <p:cNvPr id="11" name="Gerade Verbindung mit Pfeil 13"/>
            <p:cNvCxnSpPr>
              <a:cxnSpLocks noChangeShapeType="1"/>
            </p:cNvCxnSpPr>
            <p:nvPr/>
          </p:nvCxnSpPr>
          <p:spPr bwMode="gray">
            <a:xfrm rot="10800000" flipV="1">
              <a:off x="1869" y="2790"/>
              <a:ext cx="1014" cy="801"/>
            </a:xfrm>
            <a:prstGeom prst="straightConnector1">
              <a:avLst/>
            </a:prstGeom>
            <a:noFill/>
            <a:ln w="22225" algn="ctr">
              <a:solidFill>
                <a:srgbClr val="919191"/>
              </a:solidFill>
              <a:round/>
              <a:headEnd/>
              <a:tailEnd type="triangle" w="med" len="med"/>
            </a:ln>
          </p:spPr>
        </p:cxnSp>
        <p:cxnSp>
          <p:nvCxnSpPr>
            <p:cNvPr id="12" name="Gerade Verbindung mit Pfeil 16"/>
            <p:cNvCxnSpPr>
              <a:cxnSpLocks noChangeShapeType="1"/>
            </p:cNvCxnSpPr>
            <p:nvPr/>
          </p:nvCxnSpPr>
          <p:spPr bwMode="gray">
            <a:xfrm>
              <a:off x="2880" y="2797"/>
              <a:ext cx="1035" cy="799"/>
            </a:xfrm>
            <a:prstGeom prst="straightConnector1">
              <a:avLst/>
            </a:prstGeom>
            <a:noFill/>
            <a:ln w="22225" algn="ctr">
              <a:solidFill>
                <a:srgbClr val="919191"/>
              </a:solidFill>
              <a:round/>
              <a:headEnd/>
              <a:tailEnd type="triangle" w="med" len="med"/>
            </a:ln>
          </p:spPr>
        </p:cxnSp>
      </p:grpSp>
      <p:sp>
        <p:nvSpPr>
          <p:cNvPr id="13" name="Text Box 19"/>
          <p:cNvSpPr txBox="1">
            <a:spLocks noChangeArrowheads="1"/>
          </p:cNvSpPr>
          <p:nvPr/>
        </p:nvSpPr>
        <p:spPr bwMode="gray">
          <a:xfrm>
            <a:off x="2627784" y="1164482"/>
            <a:ext cx="2447925" cy="338554"/>
          </a:xfrm>
          <a:prstGeom prst="rect">
            <a:avLst/>
          </a:prstGeom>
          <a:noFill/>
          <a:ln w="9525">
            <a:noFill/>
            <a:miter lim="800000"/>
            <a:headEnd/>
            <a:tailEnd/>
          </a:ln>
        </p:spPr>
        <p:txBody>
          <a:bodyPr lIns="0" tIns="0" rIns="0" bIns="0">
            <a:spAutoFit/>
          </a:bodyPr>
          <a:lstStyle/>
          <a:p>
            <a:pPr defTabSz="801688">
              <a:spcAft>
                <a:spcPct val="40000"/>
              </a:spcAft>
            </a:pPr>
            <a:r>
              <a:rPr lang="es-ES_tradnl" sz="2200" b="1" dirty="0">
                <a:solidFill>
                  <a:srgbClr val="9BBB59">
                    <a:lumMod val="50000"/>
                  </a:srgbClr>
                </a:solidFill>
              </a:rPr>
              <a:t>ESTADO</a:t>
            </a:r>
            <a:endParaRPr lang="es-PE" sz="2200" noProof="1">
              <a:solidFill>
                <a:srgbClr val="9BBB59">
                  <a:lumMod val="50000"/>
                </a:srgbClr>
              </a:solidFill>
            </a:endParaRPr>
          </a:p>
        </p:txBody>
      </p:sp>
      <p:sp>
        <p:nvSpPr>
          <p:cNvPr id="14" name="Text Box 19"/>
          <p:cNvSpPr txBox="1">
            <a:spLocks noChangeArrowheads="1"/>
          </p:cNvSpPr>
          <p:nvPr/>
        </p:nvSpPr>
        <p:spPr bwMode="gray">
          <a:xfrm>
            <a:off x="683915" y="5105178"/>
            <a:ext cx="2447925" cy="677108"/>
          </a:xfrm>
          <a:prstGeom prst="rect">
            <a:avLst/>
          </a:prstGeom>
          <a:noFill/>
          <a:ln w="9525">
            <a:noFill/>
            <a:miter lim="800000"/>
            <a:headEnd/>
            <a:tailEnd/>
          </a:ln>
        </p:spPr>
        <p:txBody>
          <a:bodyPr lIns="0" tIns="0" rIns="0" bIns="0">
            <a:spAutoFit/>
          </a:bodyPr>
          <a:lstStyle/>
          <a:p>
            <a:pPr defTabSz="801688">
              <a:spcAft>
                <a:spcPct val="40000"/>
              </a:spcAft>
            </a:pPr>
            <a:r>
              <a:rPr lang="es-ES" sz="2200" b="1" dirty="0">
                <a:solidFill>
                  <a:srgbClr val="9BBB59">
                    <a:lumMod val="50000"/>
                  </a:srgbClr>
                </a:solidFill>
              </a:rPr>
              <a:t>GREMIOS EMPRESARIALES</a:t>
            </a:r>
            <a:endParaRPr lang="es-PE" sz="2200" noProof="1">
              <a:solidFill>
                <a:srgbClr val="9BBB59">
                  <a:lumMod val="50000"/>
                </a:srgbClr>
              </a:solidFill>
            </a:endParaRPr>
          </a:p>
        </p:txBody>
      </p:sp>
      <p:sp>
        <p:nvSpPr>
          <p:cNvPr id="15" name="Text Box 19"/>
          <p:cNvSpPr txBox="1">
            <a:spLocks noChangeArrowheads="1"/>
          </p:cNvSpPr>
          <p:nvPr/>
        </p:nvSpPr>
        <p:spPr bwMode="gray">
          <a:xfrm>
            <a:off x="5434261" y="5509681"/>
            <a:ext cx="3530227" cy="1015663"/>
          </a:xfrm>
          <a:prstGeom prst="rect">
            <a:avLst/>
          </a:prstGeom>
          <a:noFill/>
          <a:ln w="9525">
            <a:noFill/>
            <a:miter lim="800000"/>
            <a:headEnd/>
            <a:tailEnd/>
          </a:ln>
        </p:spPr>
        <p:txBody>
          <a:bodyPr wrap="square" lIns="0" tIns="0" rIns="0" bIns="0">
            <a:spAutoFit/>
          </a:bodyPr>
          <a:lstStyle/>
          <a:p>
            <a:pPr defTabSz="801688">
              <a:spcAft>
                <a:spcPct val="40000"/>
              </a:spcAft>
            </a:pPr>
            <a:r>
              <a:rPr lang="es-ES" sz="2200" b="1" dirty="0">
                <a:solidFill>
                  <a:srgbClr val="9BBB59">
                    <a:lumMod val="50000"/>
                  </a:srgbClr>
                </a:solidFill>
              </a:rPr>
              <a:t>AGENCIAS DE COOPERACION INTERNACIONAL</a:t>
            </a:r>
            <a:endParaRPr lang="es-PE" sz="2200" noProof="1">
              <a:solidFill>
                <a:srgbClr val="9BBB59">
                  <a:lumMod val="50000"/>
                </a:srgbClr>
              </a:solidFill>
            </a:endParaRPr>
          </a:p>
        </p:txBody>
      </p:sp>
      <p:sp>
        <p:nvSpPr>
          <p:cNvPr id="16" name="Text Box 14"/>
          <p:cNvSpPr txBox="1">
            <a:spLocks noChangeArrowheads="1"/>
          </p:cNvSpPr>
          <p:nvPr/>
        </p:nvSpPr>
        <p:spPr bwMode="gray">
          <a:xfrm>
            <a:off x="6840760" y="4117971"/>
            <a:ext cx="2303240" cy="1231106"/>
          </a:xfrm>
          <a:prstGeom prst="rect">
            <a:avLst/>
          </a:prstGeom>
          <a:noFill/>
          <a:ln w="9525">
            <a:noFill/>
            <a:miter lim="800000"/>
            <a:headEnd/>
            <a:tailEnd/>
          </a:ln>
        </p:spPr>
        <p:txBody>
          <a:bodyPr wrap="square" lIns="0" tIns="0" rIns="0" bIns="0">
            <a:spAutoFit/>
          </a:bodyPr>
          <a:lstStyle/>
          <a:p>
            <a:r>
              <a:rPr lang="es-ES" sz="1600" b="1" dirty="0">
                <a:solidFill>
                  <a:prstClr val="black"/>
                </a:solidFill>
              </a:rPr>
              <a:t>USAID, CBI, BID, Unión Europea, Banco Mundial, </a:t>
            </a:r>
            <a:r>
              <a:rPr lang="es-ES" sz="1600" b="1" dirty="0" smtClean="0">
                <a:solidFill>
                  <a:prstClr val="black"/>
                </a:solidFill>
              </a:rPr>
              <a:t>SIPPO, JETRO, ICE, GTZ, SWEDECORP, etc</a:t>
            </a:r>
            <a:r>
              <a:rPr lang="es-ES" sz="1600" b="1" dirty="0">
                <a:solidFill>
                  <a:prstClr val="black"/>
                </a:solidFill>
              </a:rPr>
              <a:t>.</a:t>
            </a:r>
          </a:p>
        </p:txBody>
      </p:sp>
      <p:sp>
        <p:nvSpPr>
          <p:cNvPr id="17" name="Text Box 20"/>
          <p:cNvSpPr txBox="1">
            <a:spLocks noChangeArrowheads="1"/>
          </p:cNvSpPr>
          <p:nvPr/>
        </p:nvSpPr>
        <p:spPr bwMode="gray">
          <a:xfrm>
            <a:off x="5076056" y="1256235"/>
            <a:ext cx="2619375" cy="492443"/>
          </a:xfrm>
          <a:prstGeom prst="rect">
            <a:avLst/>
          </a:prstGeom>
          <a:noFill/>
          <a:ln w="9525">
            <a:noFill/>
            <a:miter lim="800000"/>
            <a:headEnd/>
            <a:tailEnd/>
          </a:ln>
        </p:spPr>
        <p:txBody>
          <a:bodyPr lIns="0" tIns="0" rIns="0" bIns="0">
            <a:spAutoFit/>
          </a:bodyPr>
          <a:lstStyle/>
          <a:p>
            <a:pPr algn="l"/>
            <a:r>
              <a:rPr lang="es-ES" sz="1600" b="1" dirty="0" err="1">
                <a:solidFill>
                  <a:prstClr val="black"/>
                </a:solidFill>
              </a:rPr>
              <a:t>Promperú</a:t>
            </a:r>
            <a:r>
              <a:rPr lang="es-ES" sz="1600" b="1" dirty="0">
                <a:solidFill>
                  <a:prstClr val="black"/>
                </a:solidFill>
              </a:rPr>
              <a:t>, </a:t>
            </a:r>
            <a:r>
              <a:rPr lang="es-ES" sz="1600" b="1" dirty="0" err="1">
                <a:solidFill>
                  <a:prstClr val="black"/>
                </a:solidFill>
              </a:rPr>
              <a:t>Proinversión</a:t>
            </a:r>
            <a:r>
              <a:rPr lang="es-ES" sz="1600" b="1" dirty="0">
                <a:solidFill>
                  <a:prstClr val="black"/>
                </a:solidFill>
              </a:rPr>
              <a:t>, </a:t>
            </a:r>
            <a:r>
              <a:rPr lang="es-ES" sz="1600" b="1" dirty="0" err="1">
                <a:solidFill>
                  <a:prstClr val="black"/>
                </a:solidFill>
              </a:rPr>
              <a:t>Cofide</a:t>
            </a:r>
            <a:r>
              <a:rPr lang="es-ES" sz="1600" b="1" dirty="0">
                <a:solidFill>
                  <a:prstClr val="black"/>
                </a:solidFill>
              </a:rPr>
              <a:t>, etc.</a:t>
            </a:r>
          </a:p>
        </p:txBody>
      </p:sp>
      <p:sp>
        <p:nvSpPr>
          <p:cNvPr id="18" name="Text Box 20"/>
          <p:cNvSpPr txBox="1">
            <a:spLocks noChangeArrowheads="1"/>
          </p:cNvSpPr>
          <p:nvPr/>
        </p:nvSpPr>
        <p:spPr bwMode="gray">
          <a:xfrm>
            <a:off x="179512" y="4117971"/>
            <a:ext cx="2619375" cy="738664"/>
          </a:xfrm>
          <a:prstGeom prst="rect">
            <a:avLst/>
          </a:prstGeom>
          <a:noFill/>
          <a:ln w="9525">
            <a:noFill/>
            <a:miter lim="800000"/>
            <a:headEnd/>
            <a:tailEnd/>
          </a:ln>
        </p:spPr>
        <p:txBody>
          <a:bodyPr lIns="0" tIns="0" rIns="0" bIns="0">
            <a:spAutoFit/>
          </a:bodyPr>
          <a:lstStyle/>
          <a:p>
            <a:r>
              <a:rPr lang="es-ES" sz="1600" b="1" dirty="0" err="1">
                <a:solidFill>
                  <a:prstClr val="black"/>
                </a:solidFill>
              </a:rPr>
              <a:t>Adex</a:t>
            </a:r>
            <a:r>
              <a:rPr lang="es-ES" sz="1600" b="1" dirty="0">
                <a:solidFill>
                  <a:prstClr val="black"/>
                </a:solidFill>
              </a:rPr>
              <a:t>, </a:t>
            </a:r>
            <a:r>
              <a:rPr lang="es-ES" sz="1600" b="1" dirty="0" err="1">
                <a:solidFill>
                  <a:prstClr val="black"/>
                </a:solidFill>
              </a:rPr>
              <a:t>Comex</a:t>
            </a:r>
            <a:r>
              <a:rPr lang="es-ES" sz="1600" b="1" dirty="0">
                <a:solidFill>
                  <a:prstClr val="black"/>
                </a:solidFill>
              </a:rPr>
              <a:t>, Soc. de Industrias, Cámaras de Comercio, etc.</a:t>
            </a:r>
          </a:p>
        </p:txBody>
      </p:sp>
      <p:sp>
        <p:nvSpPr>
          <p:cNvPr id="19" name="Rectangle 2"/>
          <p:cNvSpPr txBox="1">
            <a:spLocks noChangeArrowheads="1"/>
          </p:cNvSpPr>
          <p:nvPr/>
        </p:nvSpPr>
        <p:spPr>
          <a:xfrm>
            <a:off x="84336" y="188640"/>
            <a:ext cx="8520112" cy="647700"/>
          </a:xfrm>
          <a:prstGeom prst="rect">
            <a:avLst/>
          </a:prstGeom>
        </p:spPr>
        <p:txBody>
          <a:bodyPr/>
          <a:lstStyle/>
          <a:p>
            <a:r>
              <a:rPr lang="es-PE" sz="2800" b="1" dirty="0" smtClean="0">
                <a:solidFill>
                  <a:schemeClr val="bg1"/>
                </a:solidFill>
                <a:latin typeface="Arial" pitchFamily="34" charset="0"/>
                <a:cs typeface="Arial" pitchFamily="34" charset="0"/>
              </a:rPr>
              <a:t>    </a:t>
            </a:r>
            <a:r>
              <a:rPr lang="es-PE" sz="2800" b="1" dirty="0" smtClean="0">
                <a:solidFill>
                  <a:schemeClr val="tx2">
                    <a:lumMod val="75000"/>
                  </a:schemeClr>
                </a:solidFill>
                <a:latin typeface="Arial" pitchFamily="34" charset="0"/>
                <a:cs typeface="Arial" pitchFamily="34" charset="0"/>
              </a:rPr>
              <a:t>8.</a:t>
            </a:r>
            <a:r>
              <a:rPr kumimoji="1" lang="es-PE" sz="2800" b="1" dirty="0" smtClean="0"/>
              <a:t>Soporte Institucional</a:t>
            </a:r>
            <a:r>
              <a:rPr lang="es-PE" sz="2800" b="1" dirty="0" smtClean="0">
                <a:latin typeface="Arial" pitchFamily="34" charset="0"/>
                <a:cs typeface="Arial" pitchFamily="34" charset="0"/>
              </a:rPr>
              <a:t> </a:t>
            </a:r>
            <a:r>
              <a:rPr kumimoji="1" lang="es-PE" sz="2800" b="1" dirty="0" err="1" smtClean="0">
                <a:solidFill>
                  <a:schemeClr val="bg1"/>
                </a:solidFill>
              </a:rPr>
              <a:t>itucional</a:t>
            </a:r>
            <a:r>
              <a:rPr lang="es-PE" sz="2800" b="1" dirty="0" smtClean="0">
                <a:solidFill>
                  <a:schemeClr val="bg1"/>
                </a:solidFill>
                <a:latin typeface="Arial" pitchFamily="34" charset="0"/>
                <a:cs typeface="Arial" pitchFamily="34" charset="0"/>
              </a:rPr>
              <a:t> </a:t>
            </a:r>
            <a:endParaRPr lang="en-GB" sz="2800" b="1" dirty="0" smtClean="0">
              <a:solidFill>
                <a:schemeClr val="bg1"/>
              </a:solidFill>
              <a:latin typeface="Arial" pitchFamily="34" charset="0"/>
              <a:cs typeface="Arial" pitchFamily="34" charset="0"/>
            </a:endParaRPr>
          </a:p>
        </p:txBody>
      </p:sp>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heckerboard(across)">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checkerboard(across)">
                                      <p:cBhvr>
                                        <p:cTn id="12" dur="500"/>
                                        <p:tgtEl>
                                          <p:spTgt spid="17"/>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checkerboard(across)">
                                      <p:cBhvr>
                                        <p:cTn id="15" dur="5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5" presetClass="entr" presetSubtype="10" fill="hold" grpId="0" nodeType="click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checkerboard(across)">
                                      <p:cBhvr>
                                        <p:cTn id="20" dur="500"/>
                                        <p:tgtEl>
                                          <p:spTgt spid="18"/>
                                        </p:tgtEl>
                                      </p:cBhvr>
                                    </p:animEffect>
                                  </p:childTnLst>
                                </p:cTn>
                              </p:par>
                              <p:par>
                                <p:cTn id="21" presetID="5" presetClass="entr" presetSubtype="1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checkerboard(across)">
                                      <p:cBhvr>
                                        <p:cTn id="23" dur="500"/>
                                        <p:tgtEl>
                                          <p:spTgt spid="14"/>
                                        </p:tgtEl>
                                      </p:cBhvr>
                                    </p:animEffect>
                                  </p:childTnLst>
                                </p:cTn>
                              </p:par>
                            </p:childTnLst>
                          </p:cTn>
                        </p:par>
                      </p:childTnLst>
                    </p:cTn>
                  </p:par>
                  <p:par>
                    <p:cTn id="24" fill="hold">
                      <p:stCondLst>
                        <p:cond delay="indefinite"/>
                      </p:stCondLst>
                      <p:childTnLst>
                        <p:par>
                          <p:cTn id="25" fill="hold">
                            <p:stCondLst>
                              <p:cond delay="0"/>
                            </p:stCondLst>
                            <p:childTnLst>
                              <p:par>
                                <p:cTn id="26" presetID="5" presetClass="entr" presetSubtype="1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checkerboard(across)">
                                      <p:cBhvr>
                                        <p:cTn id="28" dur="500"/>
                                        <p:tgtEl>
                                          <p:spTgt spid="16"/>
                                        </p:tgtEl>
                                      </p:cBhvr>
                                    </p:animEffect>
                                  </p:childTnLst>
                                </p:cTn>
                              </p:par>
                              <p:par>
                                <p:cTn id="29" presetID="5" presetClass="entr" presetSubtype="1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checkerboard(across)">
                                      <p:cBhvr>
                                        <p:cTn id="3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17" grpId="0"/>
      <p:bldP spid="1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s://encrypted-tbn3.gstatic.com/images?q=tbn:ANd9GcSmois9-FTEViKsk_pls1LPJryBZpSXXuJ9EV4bUDmXixFGMCQ4WQ"/>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3608" y="1916832"/>
            <a:ext cx="7272808" cy="4010240"/>
          </a:xfrm>
          <a:prstGeom prst="rect">
            <a:avLst/>
          </a:prstGeom>
          <a:noFill/>
          <a:effectLst>
            <a:glow rad="2286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a:xfrm>
            <a:off x="84336" y="188640"/>
            <a:ext cx="8520112" cy="647700"/>
          </a:xfrm>
          <a:prstGeom prst="rect">
            <a:avLst/>
          </a:prstGeom>
        </p:spPr>
        <p:txBody>
          <a:bodyPr/>
          <a:lstStyle/>
          <a:p>
            <a:pPr>
              <a:lnSpc>
                <a:spcPct val="150000"/>
              </a:lnSpc>
            </a:pPr>
            <a:r>
              <a:rPr lang="es-PE" sz="2800" b="1" dirty="0" smtClean="0">
                <a:solidFill>
                  <a:schemeClr val="bg1"/>
                </a:solidFill>
                <a:latin typeface="Arial" pitchFamily="34" charset="0"/>
                <a:cs typeface="Arial" pitchFamily="34" charset="0"/>
              </a:rPr>
              <a:t>9.</a:t>
            </a:r>
            <a:r>
              <a:rPr kumimoji="1" lang="es-PE" sz="2800" b="1" dirty="0" smtClean="0">
                <a:solidFill>
                  <a:schemeClr val="tx2">
                    <a:lumMod val="75000"/>
                  </a:schemeClr>
                </a:solidFill>
              </a:rPr>
              <a:t>9.</a:t>
            </a:r>
            <a:r>
              <a:rPr kumimoji="1" lang="es-PE" sz="2800" b="1" dirty="0" smtClean="0"/>
              <a:t>¿Rivales o Aliados Estratégicos? </a:t>
            </a:r>
            <a:r>
              <a:rPr kumimoji="1" lang="es-PE" sz="2800" b="1" dirty="0" smtClean="0">
                <a:solidFill>
                  <a:schemeClr val="bg1"/>
                </a:solidFill>
              </a:rPr>
              <a:t>es o Aliados Estratégicos?</a:t>
            </a:r>
          </a:p>
        </p:txBody>
      </p:sp>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66"/>
          <p:cNvSpPr>
            <a:spLocks noChangeArrowheads="1"/>
          </p:cNvSpPr>
          <p:nvPr/>
        </p:nvSpPr>
        <p:spPr bwMode="auto">
          <a:xfrm>
            <a:off x="5364088" y="1641475"/>
            <a:ext cx="1390124" cy="338554"/>
          </a:xfrm>
          <a:prstGeom prst="rect">
            <a:avLst/>
          </a:prstGeom>
          <a:noFill/>
          <a:ln w="9525">
            <a:noFill/>
            <a:miter lim="800000"/>
            <a:headEnd/>
            <a:tailEnd/>
          </a:ln>
          <a:effectLst/>
        </p:spPr>
        <p:txBody>
          <a:bodyPr wrap="none">
            <a:spAutoFit/>
          </a:bodyPr>
          <a:lstStyle/>
          <a:p>
            <a:pPr algn="l"/>
            <a:r>
              <a:rPr lang="en-GB" sz="1600" b="1" dirty="0" smtClean="0"/>
              <a:t>DETECCIÓN</a:t>
            </a:r>
            <a:endParaRPr lang="en-GB" sz="1600" b="1" dirty="0"/>
          </a:p>
        </p:txBody>
      </p:sp>
      <p:sp>
        <p:nvSpPr>
          <p:cNvPr id="11" name="Rectangle 67"/>
          <p:cNvSpPr>
            <a:spLocks noChangeArrowheads="1"/>
          </p:cNvSpPr>
          <p:nvPr/>
        </p:nvSpPr>
        <p:spPr bwMode="auto">
          <a:xfrm>
            <a:off x="5342144" y="1936751"/>
            <a:ext cx="2398208" cy="338554"/>
          </a:xfrm>
          <a:prstGeom prst="rect">
            <a:avLst/>
          </a:prstGeom>
          <a:noFill/>
          <a:ln w="9525">
            <a:noFill/>
            <a:miter lim="800000"/>
            <a:headEnd/>
            <a:tailEnd/>
          </a:ln>
          <a:effectLst/>
        </p:spPr>
        <p:txBody>
          <a:bodyPr wrap="square">
            <a:spAutoFit/>
          </a:bodyPr>
          <a:lstStyle/>
          <a:p>
            <a:pPr algn="l"/>
            <a:r>
              <a:rPr lang="en-GB" sz="1600" b="1" dirty="0" smtClean="0"/>
              <a:t>CAPTURA</a:t>
            </a:r>
            <a:endParaRPr lang="en-GB" sz="1600" b="1" dirty="0"/>
          </a:p>
        </p:txBody>
      </p:sp>
      <p:sp>
        <p:nvSpPr>
          <p:cNvPr id="12" name="Rectangle 68"/>
          <p:cNvSpPr>
            <a:spLocks noChangeArrowheads="1"/>
          </p:cNvSpPr>
          <p:nvPr/>
        </p:nvSpPr>
        <p:spPr bwMode="auto">
          <a:xfrm>
            <a:off x="5364088" y="2232025"/>
            <a:ext cx="1438214" cy="338554"/>
          </a:xfrm>
          <a:prstGeom prst="rect">
            <a:avLst/>
          </a:prstGeom>
          <a:noFill/>
          <a:ln w="9525">
            <a:noFill/>
            <a:miter lim="800000"/>
            <a:headEnd/>
            <a:tailEnd/>
          </a:ln>
          <a:effectLst/>
        </p:spPr>
        <p:txBody>
          <a:bodyPr wrap="none">
            <a:spAutoFit/>
          </a:bodyPr>
          <a:lstStyle/>
          <a:p>
            <a:r>
              <a:rPr lang="en-GB" sz="1600" b="1" dirty="0" smtClean="0"/>
              <a:t>FORMACIÓN</a:t>
            </a:r>
            <a:endParaRPr lang="en-GB" sz="1600" b="1" dirty="0"/>
          </a:p>
        </p:txBody>
      </p:sp>
      <p:sp>
        <p:nvSpPr>
          <p:cNvPr id="13" name="Rectangle 69"/>
          <p:cNvSpPr>
            <a:spLocks noChangeArrowheads="1"/>
          </p:cNvSpPr>
          <p:nvPr/>
        </p:nvSpPr>
        <p:spPr bwMode="auto">
          <a:xfrm>
            <a:off x="5364088" y="2525713"/>
            <a:ext cx="1390124" cy="338554"/>
          </a:xfrm>
          <a:prstGeom prst="rect">
            <a:avLst/>
          </a:prstGeom>
          <a:noFill/>
          <a:ln w="9525">
            <a:noFill/>
            <a:miter lim="800000"/>
            <a:headEnd/>
            <a:tailEnd/>
          </a:ln>
          <a:effectLst/>
        </p:spPr>
        <p:txBody>
          <a:bodyPr wrap="none">
            <a:spAutoFit/>
          </a:bodyPr>
          <a:lstStyle/>
          <a:p>
            <a:r>
              <a:rPr lang="en-GB" sz="1600" b="1" dirty="0" smtClean="0"/>
              <a:t>RETENCIÓN</a:t>
            </a:r>
            <a:endParaRPr lang="en-GB" sz="1600" b="1" dirty="0"/>
          </a:p>
        </p:txBody>
      </p:sp>
      <p:sp>
        <p:nvSpPr>
          <p:cNvPr id="14" name="Rectangle 70"/>
          <p:cNvSpPr>
            <a:spLocks noChangeArrowheads="1"/>
          </p:cNvSpPr>
          <p:nvPr/>
        </p:nvSpPr>
        <p:spPr bwMode="auto">
          <a:xfrm>
            <a:off x="5339787" y="2820988"/>
            <a:ext cx="2735429" cy="338554"/>
          </a:xfrm>
          <a:prstGeom prst="rect">
            <a:avLst/>
          </a:prstGeom>
          <a:noFill/>
          <a:ln w="9525">
            <a:noFill/>
            <a:miter lim="800000"/>
            <a:headEnd/>
            <a:tailEnd/>
          </a:ln>
          <a:effectLst/>
        </p:spPr>
        <p:txBody>
          <a:bodyPr wrap="none">
            <a:spAutoFit/>
          </a:bodyPr>
          <a:lstStyle/>
          <a:p>
            <a:r>
              <a:rPr lang="en-GB" sz="1600" b="1" dirty="0" smtClean="0"/>
              <a:t>CARRERA PROFESIONAL</a:t>
            </a:r>
            <a:endParaRPr lang="en-GB" sz="1600" b="1" dirty="0"/>
          </a:p>
        </p:txBody>
      </p:sp>
      <p:sp>
        <p:nvSpPr>
          <p:cNvPr id="15" name="Rectangle 71"/>
          <p:cNvSpPr>
            <a:spLocks noChangeArrowheads="1"/>
          </p:cNvSpPr>
          <p:nvPr/>
        </p:nvSpPr>
        <p:spPr bwMode="auto">
          <a:xfrm>
            <a:off x="5364088" y="3114675"/>
            <a:ext cx="3707903" cy="584775"/>
          </a:xfrm>
          <a:prstGeom prst="rect">
            <a:avLst/>
          </a:prstGeom>
          <a:noFill/>
          <a:ln w="9525">
            <a:noFill/>
            <a:miter lim="800000"/>
            <a:headEnd/>
            <a:tailEnd/>
          </a:ln>
          <a:effectLst/>
        </p:spPr>
        <p:txBody>
          <a:bodyPr wrap="square">
            <a:spAutoFit/>
          </a:bodyPr>
          <a:lstStyle/>
          <a:p>
            <a:pPr algn="l"/>
            <a:r>
              <a:rPr lang="en-GB" sz="1600" b="1" dirty="0" smtClean="0"/>
              <a:t>INCORPORACIÓN A  LA INNOVACIÓN</a:t>
            </a:r>
            <a:endParaRPr lang="en-GB" sz="1600" b="1" dirty="0"/>
          </a:p>
        </p:txBody>
      </p:sp>
      <p:sp>
        <p:nvSpPr>
          <p:cNvPr id="45" name="Rectangle 71"/>
          <p:cNvSpPr>
            <a:spLocks noChangeArrowheads="1"/>
          </p:cNvSpPr>
          <p:nvPr/>
        </p:nvSpPr>
        <p:spPr bwMode="auto">
          <a:xfrm>
            <a:off x="5364966" y="3668514"/>
            <a:ext cx="2951449" cy="338554"/>
          </a:xfrm>
          <a:prstGeom prst="rect">
            <a:avLst/>
          </a:prstGeom>
          <a:noFill/>
          <a:ln w="9525">
            <a:noFill/>
            <a:miter lim="800000"/>
            <a:headEnd/>
            <a:tailEnd/>
          </a:ln>
          <a:effectLst/>
        </p:spPr>
        <p:txBody>
          <a:bodyPr wrap="none">
            <a:spAutoFit/>
          </a:bodyPr>
          <a:lstStyle/>
          <a:p>
            <a:pPr algn="l"/>
            <a:r>
              <a:rPr lang="en-GB" sz="1600" b="1" dirty="0" smtClean="0"/>
              <a:t>FORMAR INVESTIGADORES</a:t>
            </a:r>
            <a:endParaRPr lang="en-GB" sz="1600" b="1" dirty="0"/>
          </a:p>
        </p:txBody>
      </p:sp>
      <p:sp>
        <p:nvSpPr>
          <p:cNvPr id="48" name="Rectangle 2"/>
          <p:cNvSpPr txBox="1">
            <a:spLocks noChangeArrowheads="1"/>
          </p:cNvSpPr>
          <p:nvPr/>
        </p:nvSpPr>
        <p:spPr>
          <a:xfrm>
            <a:off x="84336" y="188640"/>
            <a:ext cx="8520112" cy="647700"/>
          </a:xfrm>
          <a:prstGeom prst="rect">
            <a:avLst/>
          </a:prstGeom>
        </p:spPr>
        <p:txBody>
          <a:bodyPr/>
          <a:lstStyle/>
          <a:p>
            <a:pPr>
              <a:lnSpc>
                <a:spcPct val="150000"/>
              </a:lnSpc>
            </a:pPr>
            <a:r>
              <a:rPr kumimoji="1" lang="es-PE" sz="2800" b="1" smtClean="0">
                <a:solidFill>
                  <a:schemeClr val="tx2">
                    <a:lumMod val="75000"/>
                  </a:schemeClr>
                </a:solidFill>
              </a:rPr>
              <a:t>10. </a:t>
            </a:r>
            <a:r>
              <a:rPr kumimoji="1" lang="es-PE" sz="2800" b="1" smtClean="0"/>
              <a:t>Gestión </a:t>
            </a:r>
            <a:r>
              <a:rPr kumimoji="1" lang="es-PE" sz="2800" b="1" dirty="0" smtClean="0"/>
              <a:t>del Gestión del Talento</a:t>
            </a:r>
            <a:r>
              <a:rPr lang="es-PE" sz="2800" b="1" dirty="0" smtClean="0">
                <a:latin typeface="Arial" pitchFamily="34" charset="0"/>
                <a:cs typeface="Arial" pitchFamily="34" charset="0"/>
              </a:rPr>
              <a:t> </a:t>
            </a:r>
            <a:r>
              <a:rPr kumimoji="1" lang="es-PE" sz="2800" b="1" dirty="0" err="1" smtClean="0">
                <a:solidFill>
                  <a:schemeClr val="bg1"/>
                </a:solidFill>
              </a:rPr>
              <a:t>Talento</a:t>
            </a:r>
            <a:r>
              <a:rPr lang="es-PE" sz="2800" b="1" dirty="0" smtClean="0">
                <a:solidFill>
                  <a:schemeClr val="bg1"/>
                </a:solidFill>
                <a:latin typeface="Arial" pitchFamily="34" charset="0"/>
                <a:cs typeface="Arial" pitchFamily="34" charset="0"/>
              </a:rPr>
              <a:t> </a:t>
            </a:r>
            <a:endParaRPr kumimoji="1" lang="es-PE" sz="2800" b="1" dirty="0" smtClean="0">
              <a:solidFill>
                <a:schemeClr val="bg1"/>
              </a:solidFill>
            </a:endParaRPr>
          </a:p>
        </p:txBody>
      </p:sp>
      <p:pic>
        <p:nvPicPr>
          <p:cNvPr id="134146" name="Picture 2"/>
          <p:cNvPicPr>
            <a:picLocks noChangeAspect="1" noChangeArrowheads="1"/>
          </p:cNvPicPr>
          <p:nvPr/>
        </p:nvPicPr>
        <p:blipFill>
          <a:blip r:embed="rId2" cstate="print"/>
          <a:srcRect/>
          <a:stretch>
            <a:fillRect/>
          </a:stretch>
        </p:blipFill>
        <p:spPr bwMode="auto">
          <a:xfrm>
            <a:off x="0" y="1124744"/>
            <a:ext cx="5213594" cy="4536504"/>
          </a:xfrm>
          <a:prstGeom prst="rect">
            <a:avLst/>
          </a:prstGeom>
          <a:noFill/>
          <a:ln w="9525">
            <a:noFill/>
            <a:miter lim="800000"/>
            <a:headEnd/>
            <a:tailEnd/>
          </a:ln>
        </p:spPr>
      </p:pic>
      <p:pic>
        <p:nvPicPr>
          <p:cNvPr id="134147" name="Picture 3"/>
          <p:cNvPicPr>
            <a:picLocks noChangeAspect="1" noChangeArrowheads="1"/>
          </p:cNvPicPr>
          <p:nvPr/>
        </p:nvPicPr>
        <p:blipFill>
          <a:blip r:embed="rId3" cstate="print"/>
          <a:srcRect/>
          <a:stretch>
            <a:fillRect/>
          </a:stretch>
        </p:blipFill>
        <p:spPr bwMode="auto">
          <a:xfrm>
            <a:off x="5580112" y="4381054"/>
            <a:ext cx="3557554" cy="2504330"/>
          </a:xfrm>
          <a:prstGeom prst="rect">
            <a:avLst/>
          </a:prstGeom>
          <a:noFill/>
          <a:ln w="9525">
            <a:noFill/>
            <a:miter lim="800000"/>
            <a:headEnd/>
            <a:tailEnd/>
          </a:ln>
          <a:effectLst>
            <a:glow rad="139700">
              <a:schemeClr val="accent4">
                <a:satMod val="175000"/>
                <a:alpha val="40000"/>
              </a:schemeClr>
            </a:glow>
          </a:effectLst>
        </p:spPr>
      </p:pic>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0-#ppt_w/2"/>
                                          </p:val>
                                        </p:tav>
                                        <p:tav tm="100000">
                                          <p:val>
                                            <p:strVal val="#ppt_x"/>
                                          </p:val>
                                        </p:tav>
                                      </p:tavLst>
                                    </p:anim>
                                    <p:anim calcmode="lin" valueType="num">
                                      <p:cBhvr additive="base">
                                        <p:cTn id="16" dur="50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0-#ppt_w/2"/>
                                          </p:val>
                                        </p:tav>
                                        <p:tav tm="100000">
                                          <p:val>
                                            <p:strVal val="#ppt_x"/>
                                          </p:val>
                                        </p:tav>
                                      </p:tavLst>
                                    </p:anim>
                                    <p:anim calcmode="lin" valueType="num">
                                      <p:cBhvr additive="base">
                                        <p:cTn id="24" dur="500" fill="hold"/>
                                        <p:tgtEl>
                                          <p:spTgt spid="14"/>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0-#ppt_w/2"/>
                                          </p:val>
                                        </p:tav>
                                        <p:tav tm="100000">
                                          <p:val>
                                            <p:strVal val="#ppt_x"/>
                                          </p:val>
                                        </p:tav>
                                      </p:tavLst>
                                    </p:anim>
                                    <p:anim calcmode="lin" valueType="num">
                                      <p:cBhvr additive="base">
                                        <p:cTn id="28" dur="500" fill="hold"/>
                                        <p:tgtEl>
                                          <p:spTgt spid="15"/>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45"/>
                                        </p:tgtEl>
                                        <p:attrNameLst>
                                          <p:attrName>style.visibility</p:attrName>
                                        </p:attrNameLst>
                                      </p:cBhvr>
                                      <p:to>
                                        <p:strVal val="visible"/>
                                      </p:to>
                                    </p:set>
                                    <p:anim calcmode="lin" valueType="num">
                                      <p:cBhvr additive="base">
                                        <p:cTn id="31" dur="500" fill="hold"/>
                                        <p:tgtEl>
                                          <p:spTgt spid="45"/>
                                        </p:tgtEl>
                                        <p:attrNameLst>
                                          <p:attrName>ppt_x</p:attrName>
                                        </p:attrNameLst>
                                      </p:cBhvr>
                                      <p:tavLst>
                                        <p:tav tm="0">
                                          <p:val>
                                            <p:strVal val="0-#ppt_w/2"/>
                                          </p:val>
                                        </p:tav>
                                        <p:tav tm="100000">
                                          <p:val>
                                            <p:strVal val="#ppt_x"/>
                                          </p:val>
                                        </p:tav>
                                      </p:tavLst>
                                    </p:anim>
                                    <p:anim calcmode="lin" valueType="num">
                                      <p:cBhvr additive="base">
                                        <p:cTn id="32" dur="500" fill="hold"/>
                                        <p:tgtEl>
                                          <p:spTgt spid="45"/>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134146"/>
                                        </p:tgtEl>
                                        <p:attrNameLst>
                                          <p:attrName>style.visibility</p:attrName>
                                        </p:attrNameLst>
                                      </p:cBhvr>
                                      <p:to>
                                        <p:strVal val="visible"/>
                                      </p:to>
                                    </p:set>
                                    <p:anim calcmode="lin" valueType="num">
                                      <p:cBhvr additive="base">
                                        <p:cTn id="35" dur="500" fill="hold"/>
                                        <p:tgtEl>
                                          <p:spTgt spid="134146"/>
                                        </p:tgtEl>
                                        <p:attrNameLst>
                                          <p:attrName>ppt_x</p:attrName>
                                        </p:attrNameLst>
                                      </p:cBhvr>
                                      <p:tavLst>
                                        <p:tav tm="0">
                                          <p:val>
                                            <p:strVal val="0-#ppt_w/2"/>
                                          </p:val>
                                        </p:tav>
                                        <p:tav tm="100000">
                                          <p:val>
                                            <p:strVal val="#ppt_x"/>
                                          </p:val>
                                        </p:tav>
                                      </p:tavLst>
                                    </p:anim>
                                    <p:anim calcmode="lin" valueType="num">
                                      <p:cBhvr additive="base">
                                        <p:cTn id="36" dur="500" fill="hold"/>
                                        <p:tgtEl>
                                          <p:spTgt spid="134146"/>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134147"/>
                                        </p:tgtEl>
                                        <p:attrNameLst>
                                          <p:attrName>style.visibility</p:attrName>
                                        </p:attrNameLst>
                                      </p:cBhvr>
                                      <p:to>
                                        <p:strVal val="visible"/>
                                      </p:to>
                                    </p:set>
                                    <p:anim calcmode="lin" valueType="num">
                                      <p:cBhvr additive="base">
                                        <p:cTn id="39" dur="500" fill="hold"/>
                                        <p:tgtEl>
                                          <p:spTgt spid="134147"/>
                                        </p:tgtEl>
                                        <p:attrNameLst>
                                          <p:attrName>ppt_x</p:attrName>
                                        </p:attrNameLst>
                                      </p:cBhvr>
                                      <p:tavLst>
                                        <p:tav tm="0">
                                          <p:val>
                                            <p:strVal val="0-#ppt_w/2"/>
                                          </p:val>
                                        </p:tav>
                                        <p:tav tm="100000">
                                          <p:val>
                                            <p:strVal val="#ppt_x"/>
                                          </p:val>
                                        </p:tav>
                                      </p:tavLst>
                                    </p:anim>
                                    <p:anim calcmode="lin" valueType="num">
                                      <p:cBhvr additive="base">
                                        <p:cTn id="40" dur="500" fill="hold"/>
                                        <p:tgtEl>
                                          <p:spTgt spid="1341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14" grpId="0"/>
      <p:bldP spid="15" grpId="0"/>
      <p:bldP spid="4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fondo gris clarito"/>
          <p:cNvPicPr>
            <a:picLocks noChangeAspect="1" noChangeArrowheads="1"/>
          </p:cNvPicPr>
          <p:nvPr/>
        </p:nvPicPr>
        <p:blipFill>
          <a:blip r:embed="rId6" cstate="print"/>
          <a:srcRect/>
          <a:stretch>
            <a:fillRect/>
          </a:stretch>
        </p:blipFill>
        <p:spPr bwMode="auto">
          <a:xfrm>
            <a:off x="-36512" y="-27384"/>
            <a:ext cx="9180512" cy="6885384"/>
          </a:xfrm>
          <a:prstGeom prst="rect">
            <a:avLst/>
          </a:prstGeom>
          <a:noFill/>
          <a:ln w="9525">
            <a:noFill/>
            <a:miter lim="800000"/>
            <a:headEnd/>
            <a:tailEnd/>
          </a:ln>
        </p:spPr>
      </p:pic>
      <p:sp>
        <p:nvSpPr>
          <p:cNvPr id="2" name="Rectangle 6"/>
          <p:cNvSpPr>
            <a:spLocks noChangeArrowheads="1"/>
          </p:cNvSpPr>
          <p:nvPr/>
        </p:nvSpPr>
        <p:spPr bwMode="auto">
          <a:xfrm>
            <a:off x="2987824" y="2038350"/>
            <a:ext cx="5832326" cy="2914650"/>
          </a:xfrm>
          <a:prstGeom prst="rect">
            <a:avLst/>
          </a:prstGeom>
          <a:solidFill>
            <a:srgbClr val="FFFFFF"/>
          </a:solidFill>
          <a:ln w="9525">
            <a:noFill/>
            <a:miter lim="800000"/>
            <a:headEnd/>
            <a:tailEnd/>
          </a:ln>
        </p:spPr>
        <p:txBody>
          <a:bodyPr wrap="none" anchor="ctr"/>
          <a:lstStyle/>
          <a:p>
            <a:endParaRPr lang="es-PE" noProof="1">
              <a:solidFill>
                <a:prstClr val="black"/>
              </a:solidFill>
              <a:latin typeface="Arial" pitchFamily="34" charset="0"/>
              <a:cs typeface="Arial" pitchFamily="34" charset="0"/>
            </a:endParaRPr>
          </a:p>
        </p:txBody>
      </p:sp>
      <p:sp>
        <p:nvSpPr>
          <p:cNvPr id="4" name="Rectangle 10"/>
          <p:cNvSpPr>
            <a:spLocks noChangeArrowheads="1"/>
          </p:cNvSpPr>
          <p:nvPr/>
        </p:nvSpPr>
        <p:spPr bwMode="gray">
          <a:xfrm>
            <a:off x="3410570" y="2236788"/>
            <a:ext cx="3402716" cy="2920404"/>
          </a:xfrm>
          <a:prstGeom prst="rect">
            <a:avLst/>
          </a:prstGeom>
          <a:noFill/>
          <a:ln w="19050">
            <a:noFill/>
            <a:miter lim="800000"/>
            <a:headEnd/>
            <a:tailEnd/>
          </a:ln>
        </p:spPr>
        <p:txBody>
          <a:bodyPr lIns="90000" tIns="54000" rIns="90000" bIns="54000"/>
          <a:lstStyle/>
          <a:p>
            <a:pPr algn="r" defTabSz="801688"/>
            <a:r>
              <a:rPr lang="es-PE" sz="2400" b="1" noProof="1">
                <a:solidFill>
                  <a:prstClr val="black">
                    <a:lumMod val="85000"/>
                    <a:lumOff val="15000"/>
                  </a:prstClr>
                </a:solidFill>
                <a:latin typeface="Arial" pitchFamily="34" charset="0"/>
                <a:cs typeface="Arial" pitchFamily="34" charset="0"/>
              </a:rPr>
              <a:t>Contacto</a:t>
            </a:r>
            <a:br>
              <a:rPr lang="es-PE" sz="2400" b="1" noProof="1">
                <a:solidFill>
                  <a:prstClr val="black">
                    <a:lumMod val="85000"/>
                    <a:lumOff val="15000"/>
                  </a:prstClr>
                </a:solidFill>
                <a:latin typeface="Arial" pitchFamily="34" charset="0"/>
                <a:cs typeface="Arial" pitchFamily="34" charset="0"/>
              </a:rPr>
            </a:br>
            <a:r>
              <a:rPr lang="es-PE" b="1" noProof="1">
                <a:solidFill>
                  <a:srgbClr val="4F81BD"/>
                </a:solidFill>
                <a:latin typeface="Arial" pitchFamily="34" charset="0"/>
                <a:cs typeface="Arial" pitchFamily="34" charset="0"/>
              </a:rPr>
              <a:t/>
            </a:r>
            <a:br>
              <a:rPr lang="es-PE" b="1" noProof="1">
                <a:solidFill>
                  <a:srgbClr val="4F81BD"/>
                </a:solidFill>
                <a:latin typeface="Arial" pitchFamily="34" charset="0"/>
                <a:cs typeface="Arial" pitchFamily="34" charset="0"/>
              </a:rPr>
            </a:br>
            <a:r>
              <a:rPr lang="es-PE" sz="2400" b="1" noProof="1">
                <a:solidFill>
                  <a:prstClr val="black">
                    <a:lumMod val="85000"/>
                    <a:lumOff val="15000"/>
                  </a:prstClr>
                </a:solidFill>
                <a:latin typeface="Arial" pitchFamily="34" charset="0"/>
                <a:cs typeface="Arial" pitchFamily="34" charset="0"/>
              </a:rPr>
              <a:t>Juan Carlos Mathews</a:t>
            </a:r>
            <a:endParaRPr lang="es-PE" b="1" noProof="1">
              <a:solidFill>
                <a:prstClr val="black">
                  <a:lumMod val="85000"/>
                  <a:lumOff val="15000"/>
                </a:prstClr>
              </a:solidFill>
              <a:latin typeface="Arial" pitchFamily="34" charset="0"/>
              <a:cs typeface="Arial" pitchFamily="34" charset="0"/>
            </a:endParaRPr>
          </a:p>
          <a:p>
            <a:pPr algn="r" defTabSz="801688"/>
            <a:r>
              <a:rPr lang="es-PE" sz="1400" b="1" noProof="1">
                <a:solidFill>
                  <a:srgbClr val="002060"/>
                </a:solidFill>
                <a:latin typeface="Arial" pitchFamily="34" charset="0"/>
                <a:cs typeface="Arial" pitchFamily="34" charset="0"/>
              </a:rPr>
              <a:t>Director </a:t>
            </a:r>
            <a:r>
              <a:rPr lang="es-PE" sz="1400" b="1" noProof="1" smtClean="0">
                <a:solidFill>
                  <a:srgbClr val="002060"/>
                </a:solidFill>
                <a:latin typeface="Arial" pitchFamily="34" charset="0"/>
                <a:cs typeface="Arial" pitchFamily="34" charset="0"/>
              </a:rPr>
              <a:t>del Centro de Educación Ejecutiva</a:t>
            </a:r>
            <a:endParaRPr lang="es-PE" sz="1400" b="1" noProof="1">
              <a:solidFill>
                <a:srgbClr val="002060"/>
              </a:solidFill>
              <a:latin typeface="Arial" pitchFamily="34" charset="0"/>
              <a:cs typeface="Arial" pitchFamily="34" charset="0"/>
            </a:endParaRPr>
          </a:p>
          <a:p>
            <a:pPr algn="r" defTabSz="801688"/>
            <a:r>
              <a:rPr lang="es-PE" sz="1400" b="1" noProof="1">
                <a:solidFill>
                  <a:srgbClr val="002060"/>
                </a:solidFill>
                <a:latin typeface="Arial" pitchFamily="34" charset="0"/>
                <a:cs typeface="Arial" pitchFamily="34" charset="0"/>
              </a:rPr>
              <a:t>Universidad del </a:t>
            </a:r>
            <a:r>
              <a:rPr lang="es-PE" sz="1400" b="1" noProof="1" smtClean="0">
                <a:solidFill>
                  <a:srgbClr val="002060"/>
                </a:solidFill>
                <a:latin typeface="Arial" pitchFamily="34" charset="0"/>
                <a:cs typeface="Arial" pitchFamily="34" charset="0"/>
              </a:rPr>
              <a:t>Pacífico</a:t>
            </a:r>
          </a:p>
          <a:p>
            <a:pPr algn="r" defTabSz="801688"/>
            <a:r>
              <a:rPr lang="es-PE" sz="1400" b="1" noProof="1" smtClean="0">
                <a:solidFill>
                  <a:srgbClr val="002060"/>
                </a:solidFill>
                <a:latin typeface="Arial" pitchFamily="34" charset="0"/>
                <a:cs typeface="Arial" pitchFamily="34" charset="0"/>
              </a:rPr>
              <a:t>Lima - Perú</a:t>
            </a:r>
            <a:endParaRPr lang="de-DE" sz="1400" dirty="0">
              <a:solidFill>
                <a:srgbClr val="002060"/>
              </a:solidFill>
              <a:latin typeface="Arial" pitchFamily="34" charset="0"/>
              <a:cs typeface="Arial" pitchFamily="34" charset="0"/>
            </a:endParaRPr>
          </a:p>
          <a:p>
            <a:pPr algn="r" defTabSz="801688"/>
            <a:r>
              <a:rPr lang="de-DE" sz="1400" noProof="1">
                <a:solidFill>
                  <a:srgbClr val="002060"/>
                </a:solidFill>
                <a:latin typeface="Arial" pitchFamily="34" charset="0"/>
                <a:cs typeface="Arial" pitchFamily="34" charset="0"/>
              </a:rPr>
              <a:t>E-mail: </a:t>
            </a:r>
            <a:r>
              <a:rPr lang="de-DE" sz="1400" noProof="1" smtClean="0">
                <a:solidFill>
                  <a:srgbClr val="002060"/>
                </a:solidFill>
                <a:latin typeface="Arial" pitchFamily="34" charset="0"/>
                <a:cs typeface="Arial" pitchFamily="34" charset="0"/>
              </a:rPr>
              <a:t>Mathews_JC@up.edu.pe</a:t>
            </a:r>
            <a:endParaRPr lang="de-DE" sz="1400" noProof="1">
              <a:solidFill>
                <a:srgbClr val="002060"/>
              </a:solidFill>
              <a:latin typeface="Arial" pitchFamily="34" charset="0"/>
              <a:cs typeface="Arial" pitchFamily="34" charset="0"/>
            </a:endParaRPr>
          </a:p>
          <a:p>
            <a:pPr algn="r" defTabSz="801688"/>
            <a:r>
              <a:rPr lang="de-DE" sz="1800" b="1" noProof="1">
                <a:solidFill>
                  <a:srgbClr val="002060"/>
                </a:solidFill>
                <a:latin typeface="Arial" pitchFamily="34" charset="0"/>
                <a:cs typeface="Arial" pitchFamily="34" charset="0"/>
              </a:rPr>
              <a:t>Twitter: </a:t>
            </a:r>
            <a:r>
              <a:rPr lang="de-DE" sz="1800" b="1" noProof="1" smtClean="0">
                <a:solidFill>
                  <a:srgbClr val="002060"/>
                </a:solidFill>
                <a:latin typeface="Arial" pitchFamily="34" charset="0"/>
                <a:cs typeface="Arial" pitchFamily="34" charset="0"/>
              </a:rPr>
              <a:t>@Mathews_jc</a:t>
            </a:r>
            <a:endParaRPr lang="de-DE" sz="1800" b="1" noProof="1">
              <a:solidFill>
                <a:srgbClr val="002060"/>
              </a:solidFill>
              <a:latin typeface="Arial" pitchFamily="34" charset="0"/>
              <a:cs typeface="Arial" pitchFamily="34" charset="0"/>
            </a:endParaRPr>
          </a:p>
        </p:txBody>
      </p:sp>
      <p:pic>
        <p:nvPicPr>
          <p:cNvPr id="5" name="Picture 3"/>
          <p:cNvPicPr>
            <a:picLocks noChangeAspect="1" noChangeArrowheads="1"/>
          </p:cNvPicPr>
          <p:nvPr/>
        </p:nvPicPr>
        <p:blipFill>
          <a:blip r:embed="rId7" cstate="print"/>
          <a:srcRect/>
          <a:stretch>
            <a:fillRect/>
          </a:stretch>
        </p:blipFill>
        <p:spPr bwMode="auto">
          <a:xfrm>
            <a:off x="6931335" y="2276872"/>
            <a:ext cx="2212665" cy="2592288"/>
          </a:xfrm>
          <a:prstGeom prst="rect">
            <a:avLst/>
          </a:prstGeom>
          <a:noFill/>
          <a:ln w="9525">
            <a:noFill/>
            <a:miter lim="800000"/>
            <a:headEnd/>
            <a:tailEnd/>
          </a:ln>
          <a:effectLst>
            <a:glow rad="139700">
              <a:schemeClr val="bg1">
                <a:lumMod val="75000"/>
                <a:alpha val="40000"/>
              </a:schemeClr>
            </a:glow>
          </a:effectLst>
        </p:spPr>
      </p:pic>
      <p:pic>
        <p:nvPicPr>
          <p:cNvPr id="6" name="Picture 5"/>
          <p:cNvPicPr>
            <a:picLocks noChangeAspect="1" noChangeArrowheads="1"/>
          </p:cNvPicPr>
          <p:nvPr/>
        </p:nvPicPr>
        <p:blipFill>
          <a:blip r:embed="rId8" cstate="print"/>
          <a:srcRect/>
          <a:stretch>
            <a:fillRect/>
          </a:stretch>
        </p:blipFill>
        <p:spPr bwMode="gray">
          <a:xfrm>
            <a:off x="0" y="4830573"/>
            <a:ext cx="3419872" cy="398627"/>
          </a:xfrm>
          <a:prstGeom prst="rect">
            <a:avLst/>
          </a:prstGeom>
          <a:noFill/>
          <a:ln w="9525">
            <a:noFill/>
            <a:miter lim="800000"/>
            <a:headEnd/>
            <a:tailEnd/>
          </a:ln>
        </p:spPr>
      </p:pic>
      <p:sp>
        <p:nvSpPr>
          <p:cNvPr id="7" name="Freeform 15"/>
          <p:cNvSpPr>
            <a:spLocks/>
          </p:cNvSpPr>
          <p:nvPr>
            <p:custDataLst>
              <p:tags r:id="rId1"/>
            </p:custDataLst>
          </p:nvPr>
        </p:nvSpPr>
        <p:spPr bwMode="gray">
          <a:xfrm>
            <a:off x="155576" y="3052658"/>
            <a:ext cx="1627486" cy="1670502"/>
          </a:xfrm>
          <a:custGeom>
            <a:avLst/>
            <a:gdLst>
              <a:gd name="T0" fmla="*/ 2147483647 w 301"/>
              <a:gd name="T1" fmla="*/ 2147483647 h 309"/>
              <a:gd name="T2" fmla="*/ 2147483647 w 301"/>
              <a:gd name="T3" fmla="*/ 2147483647 h 309"/>
              <a:gd name="T4" fmla="*/ 2147483647 w 301"/>
              <a:gd name="T5" fmla="*/ 2147483647 h 309"/>
              <a:gd name="T6" fmla="*/ 2147483647 w 301"/>
              <a:gd name="T7" fmla="*/ 0 h 309"/>
              <a:gd name="T8" fmla="*/ 0 w 301"/>
              <a:gd name="T9" fmla="*/ 2147483647 h 309"/>
              <a:gd name="T10" fmla="*/ 2147483647 w 301"/>
              <a:gd name="T11" fmla="*/ 2147483647 h 309"/>
              <a:gd name="T12" fmla="*/ 2147483647 w 301"/>
              <a:gd name="T13" fmla="*/ 2147483647 h 309"/>
              <a:gd name="T14" fmla="*/ 2147483647 w 301"/>
              <a:gd name="T15" fmla="*/ 2147483647 h 309"/>
              <a:gd name="T16" fmla="*/ 2147483647 w 301"/>
              <a:gd name="T17" fmla="*/ 2147483647 h 3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1"/>
              <a:gd name="T28" fmla="*/ 0 h 309"/>
              <a:gd name="T29" fmla="*/ 301 w 301"/>
              <a:gd name="T30" fmla="*/ 309 h 3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1" h="309">
                <a:moveTo>
                  <a:pt x="299" y="215"/>
                </a:moveTo>
                <a:cubicBezTo>
                  <a:pt x="263" y="216"/>
                  <a:pt x="226" y="208"/>
                  <a:pt x="192" y="188"/>
                </a:cubicBezTo>
                <a:cubicBezTo>
                  <a:pt x="136" y="156"/>
                  <a:pt x="102" y="101"/>
                  <a:pt x="95" y="41"/>
                </a:cubicBezTo>
                <a:cubicBezTo>
                  <a:pt x="47" y="0"/>
                  <a:pt x="47" y="0"/>
                  <a:pt x="47" y="0"/>
                </a:cubicBezTo>
                <a:cubicBezTo>
                  <a:pt x="0" y="42"/>
                  <a:pt x="0" y="42"/>
                  <a:pt x="0" y="42"/>
                </a:cubicBezTo>
                <a:cubicBezTo>
                  <a:pt x="13" y="191"/>
                  <a:pt x="138" y="309"/>
                  <a:pt x="291" y="309"/>
                </a:cubicBezTo>
                <a:cubicBezTo>
                  <a:pt x="295" y="309"/>
                  <a:pt x="298" y="309"/>
                  <a:pt x="301" y="309"/>
                </a:cubicBezTo>
                <a:cubicBezTo>
                  <a:pt x="258" y="261"/>
                  <a:pt x="258" y="261"/>
                  <a:pt x="258" y="261"/>
                </a:cubicBezTo>
                <a:lnTo>
                  <a:pt x="299" y="215"/>
                </a:lnTo>
                <a:close/>
              </a:path>
            </a:pathLst>
          </a:custGeom>
          <a:gradFill rotWithShape="1">
            <a:gsLst>
              <a:gs pos="0">
                <a:srgbClr val="969696"/>
              </a:gs>
              <a:gs pos="50000">
                <a:srgbClr val="E5E5E5"/>
              </a:gs>
              <a:gs pos="100000">
                <a:srgbClr val="969696"/>
              </a:gs>
            </a:gsLst>
            <a:lin ang="5400000" scaled="1"/>
          </a:gradFill>
          <a:ln w="19050">
            <a:solidFill>
              <a:srgbClr val="FFFFFF"/>
            </a:solidFill>
            <a:round/>
            <a:headEnd/>
            <a:tailEnd/>
          </a:ln>
        </p:spPr>
        <p:txBody>
          <a:bodyPr/>
          <a:lstStyle/>
          <a:p>
            <a:endParaRPr lang="es-PE">
              <a:solidFill>
                <a:prstClr val="black"/>
              </a:solidFill>
              <a:latin typeface="Arial" pitchFamily="34" charset="0"/>
              <a:cs typeface="Arial" pitchFamily="34" charset="0"/>
            </a:endParaRPr>
          </a:p>
        </p:txBody>
      </p:sp>
      <p:sp>
        <p:nvSpPr>
          <p:cNvPr id="8" name="Freeform 16"/>
          <p:cNvSpPr>
            <a:spLocks/>
          </p:cNvSpPr>
          <p:nvPr>
            <p:custDataLst>
              <p:tags r:id="rId2"/>
            </p:custDataLst>
          </p:nvPr>
        </p:nvSpPr>
        <p:spPr bwMode="gray">
          <a:xfrm>
            <a:off x="147638" y="1404832"/>
            <a:ext cx="1673371" cy="1621750"/>
          </a:xfrm>
          <a:custGeom>
            <a:avLst/>
            <a:gdLst>
              <a:gd name="T0" fmla="*/ 2147483647 w 309"/>
              <a:gd name="T1" fmla="*/ 2147483647 h 300"/>
              <a:gd name="T2" fmla="*/ 2147483647 w 309"/>
              <a:gd name="T3" fmla="*/ 2147483647 h 300"/>
              <a:gd name="T4" fmla="*/ 2147483647 w 309"/>
              <a:gd name="T5" fmla="*/ 2147483647 h 300"/>
              <a:gd name="T6" fmla="*/ 2147483647 w 309"/>
              <a:gd name="T7" fmla="*/ 2147483647 h 300"/>
              <a:gd name="T8" fmla="*/ 2147483647 w 309"/>
              <a:gd name="T9" fmla="*/ 0 h 300"/>
              <a:gd name="T10" fmla="*/ 0 w 309"/>
              <a:gd name="T11" fmla="*/ 2147483647 h 300"/>
              <a:gd name="T12" fmla="*/ 0 w 309"/>
              <a:gd name="T13" fmla="*/ 2147483647 h 300"/>
              <a:gd name="T14" fmla="*/ 2147483647 w 309"/>
              <a:gd name="T15" fmla="*/ 2147483647 h 300"/>
              <a:gd name="T16" fmla="*/ 2147483647 w 309"/>
              <a:gd name="T17" fmla="*/ 2147483647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gradFill rotWithShape="1">
            <a:gsLst>
              <a:gs pos="0">
                <a:srgbClr val="E5E5E5"/>
              </a:gs>
              <a:gs pos="100000">
                <a:srgbClr val="969696"/>
              </a:gs>
            </a:gsLst>
            <a:lin ang="5400000" scaled="1"/>
          </a:gradFill>
          <a:ln w="19050">
            <a:solidFill>
              <a:srgbClr val="FFFFFF"/>
            </a:solidFill>
            <a:round/>
            <a:headEnd/>
            <a:tailEnd/>
          </a:ln>
        </p:spPr>
        <p:txBody>
          <a:bodyPr/>
          <a:lstStyle/>
          <a:p>
            <a:endParaRPr lang="es-PE">
              <a:solidFill>
                <a:prstClr val="black"/>
              </a:solidFill>
              <a:latin typeface="Arial" pitchFamily="34" charset="0"/>
              <a:cs typeface="Arial" pitchFamily="34" charset="0"/>
            </a:endParaRPr>
          </a:p>
        </p:txBody>
      </p:sp>
      <p:sp>
        <p:nvSpPr>
          <p:cNvPr id="9" name="Freeform 17"/>
          <p:cNvSpPr>
            <a:spLocks/>
          </p:cNvSpPr>
          <p:nvPr>
            <p:custDataLst>
              <p:tags r:id="rId3"/>
            </p:custDataLst>
          </p:nvPr>
        </p:nvSpPr>
        <p:spPr bwMode="gray">
          <a:xfrm>
            <a:off x="1806575" y="3100282"/>
            <a:ext cx="1670504" cy="1620317"/>
          </a:xfrm>
          <a:custGeom>
            <a:avLst/>
            <a:gdLst>
              <a:gd name="T0" fmla="*/ 2147483647 w 308"/>
              <a:gd name="T1" fmla="*/ 0 h 300"/>
              <a:gd name="T2" fmla="*/ 2147483647 w 308"/>
              <a:gd name="T3" fmla="*/ 2147483647 h 300"/>
              <a:gd name="T4" fmla="*/ 2147483647 w 308"/>
              <a:gd name="T5" fmla="*/ 2147483647 h 300"/>
              <a:gd name="T6" fmla="*/ 0 w 308"/>
              <a:gd name="T7" fmla="*/ 2147483647 h 300"/>
              <a:gd name="T8" fmla="*/ 2147483647 w 308"/>
              <a:gd name="T9" fmla="*/ 2147483647 h 300"/>
              <a:gd name="T10" fmla="*/ 2147483647 w 308"/>
              <a:gd name="T11" fmla="*/ 2147483647 h 300"/>
              <a:gd name="T12" fmla="*/ 2147483647 w 308"/>
              <a:gd name="T13" fmla="*/ 0 h 300"/>
              <a:gd name="T14" fmla="*/ 2147483647 w 308"/>
              <a:gd name="T15" fmla="*/ 2147483647 h 300"/>
              <a:gd name="T16" fmla="*/ 2147483647 w 308"/>
              <a:gd name="T17" fmla="*/ 0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8"/>
              <a:gd name="T28" fmla="*/ 0 h 300"/>
              <a:gd name="T29" fmla="*/ 308 w 308"/>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8" h="300">
                <a:moveTo>
                  <a:pt x="214" y="0"/>
                </a:moveTo>
                <a:cubicBezTo>
                  <a:pt x="215" y="37"/>
                  <a:pt x="207" y="74"/>
                  <a:pt x="187" y="107"/>
                </a:cubicBezTo>
                <a:cubicBezTo>
                  <a:pt x="155" y="163"/>
                  <a:pt x="101" y="197"/>
                  <a:pt x="42" y="205"/>
                </a:cubicBezTo>
                <a:cubicBezTo>
                  <a:pt x="0" y="253"/>
                  <a:pt x="0" y="253"/>
                  <a:pt x="0" y="253"/>
                </a:cubicBezTo>
                <a:cubicBezTo>
                  <a:pt x="42" y="300"/>
                  <a:pt x="42" y="300"/>
                  <a:pt x="42" y="300"/>
                </a:cubicBezTo>
                <a:cubicBezTo>
                  <a:pt x="191" y="287"/>
                  <a:pt x="308" y="161"/>
                  <a:pt x="308" y="8"/>
                </a:cubicBezTo>
                <a:cubicBezTo>
                  <a:pt x="308" y="6"/>
                  <a:pt x="308" y="3"/>
                  <a:pt x="308" y="0"/>
                </a:cubicBezTo>
                <a:cubicBezTo>
                  <a:pt x="261" y="42"/>
                  <a:pt x="261" y="42"/>
                  <a:pt x="261" y="42"/>
                </a:cubicBezTo>
                <a:lnTo>
                  <a:pt x="214" y="0"/>
                </a:lnTo>
                <a:close/>
              </a:path>
            </a:pathLst>
          </a:custGeom>
          <a:gradFill rotWithShape="1">
            <a:gsLst>
              <a:gs pos="0">
                <a:srgbClr val="969696"/>
              </a:gs>
              <a:gs pos="50000">
                <a:srgbClr val="E5E5E5"/>
              </a:gs>
              <a:gs pos="100000">
                <a:srgbClr val="969696"/>
              </a:gs>
            </a:gsLst>
            <a:lin ang="5400000" scaled="1"/>
          </a:gradFill>
          <a:ln w="19050">
            <a:solidFill>
              <a:srgbClr val="FFFFFF"/>
            </a:solidFill>
            <a:round/>
            <a:headEnd/>
            <a:tailEnd/>
          </a:ln>
        </p:spPr>
        <p:txBody>
          <a:bodyPr/>
          <a:lstStyle/>
          <a:p>
            <a:endParaRPr lang="es-PE">
              <a:solidFill>
                <a:prstClr val="black"/>
              </a:solidFill>
              <a:latin typeface="Arial" pitchFamily="34" charset="0"/>
              <a:cs typeface="Arial" pitchFamily="34" charset="0"/>
            </a:endParaRPr>
          </a:p>
        </p:txBody>
      </p:sp>
      <p:sp>
        <p:nvSpPr>
          <p:cNvPr id="10" name="Freeform 18"/>
          <p:cNvSpPr>
            <a:spLocks/>
          </p:cNvSpPr>
          <p:nvPr>
            <p:custDataLst>
              <p:tags r:id="rId4"/>
            </p:custDataLst>
          </p:nvPr>
        </p:nvSpPr>
        <p:spPr bwMode="gray">
          <a:xfrm>
            <a:off x="1857375" y="1393719"/>
            <a:ext cx="1617449" cy="1670504"/>
          </a:xfrm>
          <a:custGeom>
            <a:avLst/>
            <a:gdLst>
              <a:gd name="T0" fmla="*/ 2147483647 w 299"/>
              <a:gd name="T1" fmla="*/ 2147483647 h 309"/>
              <a:gd name="T2" fmla="*/ 2147483647 w 299"/>
              <a:gd name="T3" fmla="*/ 2147483647 h 309"/>
              <a:gd name="T4" fmla="*/ 2147483647 w 299"/>
              <a:gd name="T5" fmla="*/ 2147483647 h 309"/>
              <a:gd name="T6" fmla="*/ 2147483647 w 299"/>
              <a:gd name="T7" fmla="*/ 2147483647 h 309"/>
              <a:gd name="T8" fmla="*/ 2147483647 w 299"/>
              <a:gd name="T9" fmla="*/ 2147483647 h 309"/>
              <a:gd name="T10" fmla="*/ 2147483647 w 299"/>
              <a:gd name="T11" fmla="*/ 0 h 309"/>
              <a:gd name="T12" fmla="*/ 0 w 299"/>
              <a:gd name="T13" fmla="*/ 2147483647 h 309"/>
              <a:gd name="T14" fmla="*/ 2147483647 w 299"/>
              <a:gd name="T15" fmla="*/ 2147483647 h 309"/>
              <a:gd name="T16" fmla="*/ 2147483647 w 299"/>
              <a:gd name="T17" fmla="*/ 2147483647 h 3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9"/>
              <a:gd name="T28" fmla="*/ 0 h 309"/>
              <a:gd name="T29" fmla="*/ 299 w 299"/>
              <a:gd name="T30" fmla="*/ 309 h 3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9" h="309">
                <a:moveTo>
                  <a:pt x="1" y="95"/>
                </a:moveTo>
                <a:cubicBezTo>
                  <a:pt x="37" y="94"/>
                  <a:pt x="73" y="102"/>
                  <a:pt x="107" y="121"/>
                </a:cubicBezTo>
                <a:cubicBezTo>
                  <a:pt x="162" y="153"/>
                  <a:pt x="196" y="208"/>
                  <a:pt x="204" y="266"/>
                </a:cubicBezTo>
                <a:cubicBezTo>
                  <a:pt x="253" y="309"/>
                  <a:pt x="253" y="309"/>
                  <a:pt x="253" y="309"/>
                </a:cubicBezTo>
                <a:cubicBezTo>
                  <a:pt x="299" y="268"/>
                  <a:pt x="299" y="268"/>
                  <a:pt x="299" y="268"/>
                </a:cubicBezTo>
                <a:cubicBezTo>
                  <a:pt x="287" y="118"/>
                  <a:pt x="161" y="0"/>
                  <a:pt x="7" y="0"/>
                </a:cubicBezTo>
                <a:cubicBezTo>
                  <a:pt x="5" y="0"/>
                  <a:pt x="2" y="1"/>
                  <a:pt x="0" y="1"/>
                </a:cubicBezTo>
                <a:cubicBezTo>
                  <a:pt x="42" y="48"/>
                  <a:pt x="42" y="48"/>
                  <a:pt x="42" y="48"/>
                </a:cubicBezTo>
                <a:lnTo>
                  <a:pt x="1" y="95"/>
                </a:lnTo>
                <a:close/>
              </a:path>
            </a:pathLst>
          </a:custGeom>
          <a:gradFill rotWithShape="1">
            <a:gsLst>
              <a:gs pos="0">
                <a:srgbClr val="0061B2"/>
              </a:gs>
              <a:gs pos="50000">
                <a:srgbClr val="4B8FC9"/>
              </a:gs>
              <a:gs pos="100000">
                <a:srgbClr val="0061B2"/>
              </a:gs>
            </a:gsLst>
            <a:lin ang="5400000" scaled="1"/>
          </a:gradFill>
          <a:ln w="19050">
            <a:solidFill>
              <a:srgbClr val="FFFFFF"/>
            </a:solidFill>
            <a:round/>
            <a:headEnd/>
            <a:tailEnd/>
          </a:ln>
        </p:spPr>
        <p:txBody>
          <a:bodyPr/>
          <a:lstStyle/>
          <a:p>
            <a:endParaRPr lang="es-PE">
              <a:solidFill>
                <a:prstClr val="black"/>
              </a:solidFill>
              <a:latin typeface="Arial" pitchFamily="34" charset="0"/>
              <a:cs typeface="Arial" pitchFamily="34" charset="0"/>
            </a:endParaRPr>
          </a:p>
        </p:txBody>
      </p:sp>
      <p:grpSp>
        <p:nvGrpSpPr>
          <p:cNvPr id="3" name="Group 20"/>
          <p:cNvGrpSpPr>
            <a:grpSpLocks/>
          </p:cNvGrpSpPr>
          <p:nvPr/>
        </p:nvGrpSpPr>
        <p:grpSpPr bwMode="auto">
          <a:xfrm>
            <a:off x="838200" y="2146195"/>
            <a:ext cx="1927173" cy="1815328"/>
            <a:chOff x="3846" y="-114"/>
            <a:chExt cx="1291" cy="1216"/>
          </a:xfrm>
        </p:grpSpPr>
        <p:sp>
          <p:nvSpPr>
            <p:cNvPr id="12" name="Freeform 21"/>
            <p:cNvSpPr>
              <a:spLocks noEditPoints="1"/>
            </p:cNvSpPr>
            <p:nvPr/>
          </p:nvSpPr>
          <p:spPr bwMode="gray">
            <a:xfrm>
              <a:off x="3846" y="-106"/>
              <a:ext cx="1291" cy="1162"/>
            </a:xfrm>
            <a:custGeom>
              <a:avLst/>
              <a:gdLst>
                <a:gd name="T0" fmla="*/ 227 w 1713"/>
                <a:gd name="T1" fmla="*/ 36 h 1537"/>
                <a:gd name="T2" fmla="*/ 623 w 1713"/>
                <a:gd name="T3" fmla="*/ 128 h 1537"/>
                <a:gd name="T4" fmla="*/ 650 w 1713"/>
                <a:gd name="T5" fmla="*/ 141 h 1537"/>
                <a:gd name="T6" fmla="*/ 59 w 1713"/>
                <a:gd name="T7" fmla="*/ 179 h 1537"/>
                <a:gd name="T8" fmla="*/ 70 w 1713"/>
                <a:gd name="T9" fmla="*/ 192 h 1537"/>
                <a:gd name="T10" fmla="*/ 682 w 1713"/>
                <a:gd name="T11" fmla="*/ 243 h 1537"/>
                <a:gd name="T12" fmla="*/ 705 w 1713"/>
                <a:gd name="T13" fmla="*/ 229 h 1537"/>
                <a:gd name="T14" fmla="*/ 675 w 1713"/>
                <a:gd name="T15" fmla="*/ 248 h 1537"/>
                <a:gd name="T16" fmla="*/ 690 w 1713"/>
                <a:gd name="T17" fmla="*/ 259 h 1537"/>
                <a:gd name="T18" fmla="*/ 670 w 1713"/>
                <a:gd name="T19" fmla="*/ 284 h 1537"/>
                <a:gd name="T20" fmla="*/ 703 w 1713"/>
                <a:gd name="T21" fmla="*/ 352 h 1537"/>
                <a:gd name="T22" fmla="*/ 663 w 1713"/>
                <a:gd name="T23" fmla="*/ 289 h 1537"/>
                <a:gd name="T24" fmla="*/ 665 w 1713"/>
                <a:gd name="T25" fmla="*/ 304 h 1537"/>
                <a:gd name="T26" fmla="*/ 641 w 1713"/>
                <a:gd name="T27" fmla="*/ 296 h 1537"/>
                <a:gd name="T28" fmla="*/ 597 w 1713"/>
                <a:gd name="T29" fmla="*/ 315 h 1537"/>
                <a:gd name="T30" fmla="*/ 649 w 1713"/>
                <a:gd name="T31" fmla="*/ 304 h 1537"/>
                <a:gd name="T32" fmla="*/ 690 w 1713"/>
                <a:gd name="T33" fmla="*/ 339 h 1537"/>
                <a:gd name="T34" fmla="*/ 679 w 1713"/>
                <a:gd name="T35" fmla="*/ 346 h 1537"/>
                <a:gd name="T36" fmla="*/ 725 w 1713"/>
                <a:gd name="T37" fmla="*/ 325 h 1537"/>
                <a:gd name="T38" fmla="*/ 656 w 1713"/>
                <a:gd name="T39" fmla="*/ 313 h 1537"/>
                <a:gd name="T40" fmla="*/ 668 w 1713"/>
                <a:gd name="T41" fmla="*/ 321 h 1537"/>
                <a:gd name="T42" fmla="*/ 663 w 1713"/>
                <a:gd name="T43" fmla="*/ 393 h 1537"/>
                <a:gd name="T44" fmla="*/ 625 w 1713"/>
                <a:gd name="T45" fmla="*/ 358 h 1537"/>
                <a:gd name="T46" fmla="*/ 571 w 1713"/>
                <a:gd name="T47" fmla="*/ 383 h 1537"/>
                <a:gd name="T48" fmla="*/ 574 w 1713"/>
                <a:gd name="T49" fmla="*/ 477 h 1537"/>
                <a:gd name="T50" fmla="*/ 631 w 1713"/>
                <a:gd name="T51" fmla="*/ 483 h 1537"/>
                <a:gd name="T52" fmla="*/ 677 w 1713"/>
                <a:gd name="T53" fmla="*/ 456 h 1537"/>
                <a:gd name="T54" fmla="*/ 706 w 1713"/>
                <a:gd name="T55" fmla="*/ 376 h 1537"/>
                <a:gd name="T56" fmla="*/ 715 w 1713"/>
                <a:gd name="T57" fmla="*/ 390 h 1537"/>
                <a:gd name="T58" fmla="*/ 684 w 1713"/>
                <a:gd name="T59" fmla="*/ 352 h 1537"/>
                <a:gd name="T60" fmla="*/ 647 w 1713"/>
                <a:gd name="T61" fmla="*/ 358 h 1537"/>
                <a:gd name="T62" fmla="*/ 681 w 1713"/>
                <a:gd name="T63" fmla="*/ 373 h 1537"/>
                <a:gd name="T64" fmla="*/ 483 w 1713"/>
                <a:gd name="T65" fmla="*/ 423 h 1537"/>
                <a:gd name="T66" fmla="*/ 480 w 1713"/>
                <a:gd name="T67" fmla="*/ 439 h 1537"/>
                <a:gd name="T68" fmla="*/ 460 w 1713"/>
                <a:gd name="T69" fmla="*/ 466 h 1537"/>
                <a:gd name="T70" fmla="*/ 576 w 1713"/>
                <a:gd name="T71" fmla="*/ 489 h 1537"/>
                <a:gd name="T72" fmla="*/ 124 w 1713"/>
                <a:gd name="T73" fmla="*/ 560 h 1537"/>
                <a:gd name="T74" fmla="*/ 295 w 1713"/>
                <a:gd name="T75" fmla="*/ 25 h 1537"/>
                <a:gd name="T76" fmla="*/ 225 w 1713"/>
                <a:gd name="T77" fmla="*/ 11 h 1537"/>
                <a:gd name="T78" fmla="*/ 99 w 1713"/>
                <a:gd name="T79" fmla="*/ 148 h 1537"/>
                <a:gd name="T80" fmla="*/ 76 w 1713"/>
                <a:gd name="T81" fmla="*/ 215 h 1537"/>
                <a:gd name="T82" fmla="*/ 27 w 1713"/>
                <a:gd name="T83" fmla="*/ 269 h 1537"/>
                <a:gd name="T84" fmla="*/ 82 w 1713"/>
                <a:gd name="T85" fmla="*/ 561 h 1537"/>
                <a:gd name="T86" fmla="*/ 162 w 1713"/>
                <a:gd name="T87" fmla="*/ 612 h 1537"/>
                <a:gd name="T88" fmla="*/ 146 w 1713"/>
                <a:gd name="T89" fmla="*/ 583 h 1537"/>
                <a:gd name="T90" fmla="*/ 106 w 1713"/>
                <a:gd name="T91" fmla="*/ 538 h 1537"/>
                <a:gd name="T92" fmla="*/ 51 w 1713"/>
                <a:gd name="T93" fmla="*/ 331 h 1537"/>
                <a:gd name="T94" fmla="*/ 60 w 1713"/>
                <a:gd name="T95" fmla="*/ 262 h 1537"/>
                <a:gd name="T96" fmla="*/ 154 w 1713"/>
                <a:gd name="T97" fmla="*/ 155 h 1537"/>
                <a:gd name="T98" fmla="*/ 185 w 1713"/>
                <a:gd name="T99" fmla="*/ 128 h 1537"/>
                <a:gd name="T100" fmla="*/ 203 w 1713"/>
                <a:gd name="T101" fmla="*/ 61 h 1537"/>
                <a:gd name="T102" fmla="*/ 234 w 1713"/>
                <a:gd name="T103" fmla="*/ 29 h 1537"/>
                <a:gd name="T104" fmla="*/ 307 w 1713"/>
                <a:gd name="T105" fmla="*/ 27 h 1537"/>
                <a:gd name="T106" fmla="*/ 557 w 1713"/>
                <a:gd name="T107" fmla="*/ 55 h 1537"/>
                <a:gd name="T108" fmla="*/ 596 w 1713"/>
                <a:gd name="T109" fmla="*/ 79 h 1537"/>
                <a:gd name="T110" fmla="*/ 658 w 1713"/>
                <a:gd name="T111" fmla="*/ 133 h 1537"/>
                <a:gd name="T112" fmla="*/ 720 w 1713"/>
                <a:gd name="T113" fmla="*/ 290 h 1537"/>
                <a:gd name="T114" fmla="*/ 530 w 1713"/>
                <a:gd name="T115" fmla="*/ 28 h 1537"/>
                <a:gd name="T116" fmla="*/ 605 w 1713"/>
                <a:gd name="T117" fmla="*/ 93 h 1537"/>
                <a:gd name="T118" fmla="*/ 726 w 1713"/>
                <a:gd name="T119" fmla="*/ 378 h 15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13"/>
                <a:gd name="T181" fmla="*/ 0 h 1537"/>
                <a:gd name="T182" fmla="*/ 1713 w 1713"/>
                <a:gd name="T183" fmla="*/ 1537 h 15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13" h="1537">
                  <a:moveTo>
                    <a:pt x="1152" y="12"/>
                  </a:moveTo>
                  <a:cubicBezTo>
                    <a:pt x="1149" y="12"/>
                    <a:pt x="1146" y="9"/>
                    <a:pt x="1145" y="11"/>
                  </a:cubicBezTo>
                  <a:cubicBezTo>
                    <a:pt x="1146" y="11"/>
                    <a:pt x="1150" y="15"/>
                    <a:pt x="1152" y="12"/>
                  </a:cubicBezTo>
                  <a:close/>
                  <a:moveTo>
                    <a:pt x="719" y="38"/>
                  </a:moveTo>
                  <a:cubicBezTo>
                    <a:pt x="708" y="38"/>
                    <a:pt x="708" y="38"/>
                    <a:pt x="708" y="38"/>
                  </a:cubicBezTo>
                  <a:cubicBezTo>
                    <a:pt x="708" y="41"/>
                    <a:pt x="719" y="43"/>
                    <a:pt x="719" y="38"/>
                  </a:cubicBezTo>
                  <a:close/>
                  <a:moveTo>
                    <a:pt x="763" y="72"/>
                  </a:moveTo>
                  <a:cubicBezTo>
                    <a:pt x="762" y="76"/>
                    <a:pt x="769" y="76"/>
                    <a:pt x="771" y="74"/>
                  </a:cubicBezTo>
                  <a:cubicBezTo>
                    <a:pt x="768" y="74"/>
                    <a:pt x="765" y="70"/>
                    <a:pt x="763" y="72"/>
                  </a:cubicBezTo>
                  <a:close/>
                  <a:moveTo>
                    <a:pt x="775" y="74"/>
                  </a:moveTo>
                  <a:cubicBezTo>
                    <a:pt x="778" y="76"/>
                    <a:pt x="786" y="80"/>
                    <a:pt x="788" y="76"/>
                  </a:cubicBezTo>
                  <a:cubicBezTo>
                    <a:pt x="783" y="77"/>
                    <a:pt x="779" y="72"/>
                    <a:pt x="775" y="74"/>
                  </a:cubicBezTo>
                  <a:close/>
                  <a:moveTo>
                    <a:pt x="530" y="84"/>
                  </a:moveTo>
                  <a:cubicBezTo>
                    <a:pt x="534" y="85"/>
                    <a:pt x="533" y="80"/>
                    <a:pt x="535" y="84"/>
                  </a:cubicBezTo>
                  <a:cubicBezTo>
                    <a:pt x="536" y="83"/>
                    <a:pt x="536" y="83"/>
                    <a:pt x="537" y="83"/>
                  </a:cubicBezTo>
                  <a:cubicBezTo>
                    <a:pt x="536" y="80"/>
                    <a:pt x="537" y="78"/>
                    <a:pt x="538" y="75"/>
                  </a:cubicBezTo>
                  <a:cubicBezTo>
                    <a:pt x="532" y="75"/>
                    <a:pt x="531" y="80"/>
                    <a:pt x="530" y="84"/>
                  </a:cubicBezTo>
                  <a:close/>
                  <a:moveTo>
                    <a:pt x="530" y="88"/>
                  </a:moveTo>
                  <a:cubicBezTo>
                    <a:pt x="530" y="92"/>
                    <a:pt x="532" y="98"/>
                    <a:pt x="527" y="101"/>
                  </a:cubicBezTo>
                  <a:cubicBezTo>
                    <a:pt x="533" y="99"/>
                    <a:pt x="537" y="94"/>
                    <a:pt x="538" y="87"/>
                  </a:cubicBezTo>
                  <a:cubicBezTo>
                    <a:pt x="535" y="87"/>
                    <a:pt x="533" y="90"/>
                    <a:pt x="530" y="88"/>
                  </a:cubicBezTo>
                  <a:close/>
                  <a:moveTo>
                    <a:pt x="1311" y="135"/>
                  </a:moveTo>
                  <a:cubicBezTo>
                    <a:pt x="1308" y="134"/>
                    <a:pt x="1306" y="128"/>
                    <a:pt x="1303" y="130"/>
                  </a:cubicBezTo>
                  <a:cubicBezTo>
                    <a:pt x="1306" y="131"/>
                    <a:pt x="1308" y="138"/>
                    <a:pt x="1311" y="135"/>
                  </a:cubicBezTo>
                  <a:close/>
                  <a:moveTo>
                    <a:pt x="1414" y="226"/>
                  </a:moveTo>
                  <a:cubicBezTo>
                    <a:pt x="1414" y="223"/>
                    <a:pt x="1413" y="221"/>
                    <a:pt x="1410" y="221"/>
                  </a:cubicBezTo>
                  <a:cubicBezTo>
                    <a:pt x="1409" y="225"/>
                    <a:pt x="1413" y="224"/>
                    <a:pt x="1412" y="228"/>
                  </a:cubicBezTo>
                  <a:cubicBezTo>
                    <a:pt x="1406" y="237"/>
                    <a:pt x="1416" y="247"/>
                    <a:pt x="1421" y="252"/>
                  </a:cubicBezTo>
                  <a:cubicBezTo>
                    <a:pt x="1425" y="264"/>
                    <a:pt x="1425" y="274"/>
                    <a:pt x="1434" y="281"/>
                  </a:cubicBezTo>
                  <a:cubicBezTo>
                    <a:pt x="1434" y="279"/>
                    <a:pt x="1431" y="277"/>
                    <a:pt x="1434" y="276"/>
                  </a:cubicBezTo>
                  <a:cubicBezTo>
                    <a:pt x="1436" y="279"/>
                    <a:pt x="1439" y="282"/>
                    <a:pt x="1441" y="287"/>
                  </a:cubicBezTo>
                  <a:cubicBezTo>
                    <a:pt x="1444" y="288"/>
                    <a:pt x="1441" y="283"/>
                    <a:pt x="1444" y="284"/>
                  </a:cubicBezTo>
                  <a:cubicBezTo>
                    <a:pt x="1444" y="290"/>
                    <a:pt x="1454" y="291"/>
                    <a:pt x="1456" y="289"/>
                  </a:cubicBezTo>
                  <a:cubicBezTo>
                    <a:pt x="1458" y="291"/>
                    <a:pt x="1455" y="292"/>
                    <a:pt x="1456" y="295"/>
                  </a:cubicBezTo>
                  <a:cubicBezTo>
                    <a:pt x="1462" y="296"/>
                    <a:pt x="1461" y="304"/>
                    <a:pt x="1468" y="306"/>
                  </a:cubicBezTo>
                  <a:cubicBezTo>
                    <a:pt x="1472" y="301"/>
                    <a:pt x="1466" y="298"/>
                    <a:pt x="1467" y="295"/>
                  </a:cubicBezTo>
                  <a:cubicBezTo>
                    <a:pt x="1469" y="297"/>
                    <a:pt x="1469" y="295"/>
                    <a:pt x="1472" y="296"/>
                  </a:cubicBezTo>
                  <a:cubicBezTo>
                    <a:pt x="1472" y="298"/>
                    <a:pt x="1474" y="298"/>
                    <a:pt x="1473" y="301"/>
                  </a:cubicBezTo>
                  <a:cubicBezTo>
                    <a:pt x="1472" y="301"/>
                    <a:pt x="1472" y="300"/>
                    <a:pt x="1470" y="300"/>
                  </a:cubicBezTo>
                  <a:cubicBezTo>
                    <a:pt x="1470" y="306"/>
                    <a:pt x="1475" y="306"/>
                    <a:pt x="1476" y="311"/>
                  </a:cubicBezTo>
                  <a:cubicBezTo>
                    <a:pt x="1478" y="312"/>
                    <a:pt x="1478" y="310"/>
                    <a:pt x="1479" y="310"/>
                  </a:cubicBezTo>
                  <a:cubicBezTo>
                    <a:pt x="1484" y="311"/>
                    <a:pt x="1483" y="317"/>
                    <a:pt x="1488" y="318"/>
                  </a:cubicBezTo>
                  <a:cubicBezTo>
                    <a:pt x="1491" y="309"/>
                    <a:pt x="1477" y="305"/>
                    <a:pt x="1477" y="300"/>
                  </a:cubicBezTo>
                  <a:cubicBezTo>
                    <a:pt x="1483" y="304"/>
                    <a:pt x="1486" y="309"/>
                    <a:pt x="1494" y="311"/>
                  </a:cubicBezTo>
                  <a:cubicBezTo>
                    <a:pt x="1486" y="299"/>
                    <a:pt x="1477" y="287"/>
                    <a:pt x="1459" y="284"/>
                  </a:cubicBezTo>
                  <a:cubicBezTo>
                    <a:pt x="1456" y="276"/>
                    <a:pt x="1452" y="269"/>
                    <a:pt x="1446" y="263"/>
                  </a:cubicBezTo>
                  <a:cubicBezTo>
                    <a:pt x="1446" y="266"/>
                    <a:pt x="1450" y="268"/>
                    <a:pt x="1447" y="269"/>
                  </a:cubicBezTo>
                  <a:cubicBezTo>
                    <a:pt x="1438" y="262"/>
                    <a:pt x="1428" y="252"/>
                    <a:pt x="1423" y="240"/>
                  </a:cubicBezTo>
                  <a:cubicBezTo>
                    <a:pt x="1423" y="239"/>
                    <a:pt x="1424" y="237"/>
                    <a:pt x="1424" y="237"/>
                  </a:cubicBezTo>
                  <a:cubicBezTo>
                    <a:pt x="1423" y="232"/>
                    <a:pt x="1416" y="223"/>
                    <a:pt x="1414" y="226"/>
                  </a:cubicBezTo>
                  <a:close/>
                  <a:moveTo>
                    <a:pt x="1519" y="325"/>
                  </a:moveTo>
                  <a:cubicBezTo>
                    <a:pt x="1520" y="328"/>
                    <a:pt x="1521" y="329"/>
                    <a:pt x="1524" y="330"/>
                  </a:cubicBezTo>
                  <a:cubicBezTo>
                    <a:pt x="1524" y="326"/>
                    <a:pt x="1521" y="326"/>
                    <a:pt x="1519" y="325"/>
                  </a:cubicBezTo>
                  <a:close/>
                  <a:moveTo>
                    <a:pt x="928" y="336"/>
                  </a:moveTo>
                  <a:cubicBezTo>
                    <a:pt x="928" y="340"/>
                    <a:pt x="935" y="341"/>
                    <a:pt x="934" y="335"/>
                  </a:cubicBezTo>
                  <a:cubicBezTo>
                    <a:pt x="931" y="335"/>
                    <a:pt x="929" y="335"/>
                    <a:pt x="928" y="336"/>
                  </a:cubicBezTo>
                  <a:close/>
                  <a:moveTo>
                    <a:pt x="913" y="346"/>
                  </a:moveTo>
                  <a:cubicBezTo>
                    <a:pt x="916" y="348"/>
                    <a:pt x="922" y="346"/>
                    <a:pt x="922" y="341"/>
                  </a:cubicBezTo>
                  <a:cubicBezTo>
                    <a:pt x="920" y="333"/>
                    <a:pt x="913" y="340"/>
                    <a:pt x="913" y="346"/>
                  </a:cubicBezTo>
                  <a:close/>
                  <a:moveTo>
                    <a:pt x="901" y="344"/>
                  </a:moveTo>
                  <a:cubicBezTo>
                    <a:pt x="904" y="350"/>
                    <a:pt x="894" y="346"/>
                    <a:pt x="893" y="351"/>
                  </a:cubicBezTo>
                  <a:cubicBezTo>
                    <a:pt x="898" y="355"/>
                    <a:pt x="903" y="351"/>
                    <a:pt x="908" y="349"/>
                  </a:cubicBezTo>
                  <a:cubicBezTo>
                    <a:pt x="908" y="345"/>
                    <a:pt x="903" y="346"/>
                    <a:pt x="901" y="344"/>
                  </a:cubicBezTo>
                  <a:close/>
                  <a:moveTo>
                    <a:pt x="901" y="357"/>
                  </a:moveTo>
                  <a:cubicBezTo>
                    <a:pt x="896" y="354"/>
                    <a:pt x="890" y="358"/>
                    <a:pt x="884" y="357"/>
                  </a:cubicBezTo>
                  <a:cubicBezTo>
                    <a:pt x="875" y="364"/>
                    <a:pt x="895" y="369"/>
                    <a:pt x="901" y="364"/>
                  </a:cubicBezTo>
                  <a:cubicBezTo>
                    <a:pt x="899" y="360"/>
                    <a:pt x="897" y="360"/>
                    <a:pt x="901" y="357"/>
                  </a:cubicBezTo>
                  <a:close/>
                  <a:moveTo>
                    <a:pt x="138" y="415"/>
                  </a:moveTo>
                  <a:cubicBezTo>
                    <a:pt x="134" y="415"/>
                    <a:pt x="133" y="417"/>
                    <a:pt x="132" y="420"/>
                  </a:cubicBezTo>
                  <a:cubicBezTo>
                    <a:pt x="136" y="421"/>
                    <a:pt x="137" y="417"/>
                    <a:pt x="138" y="415"/>
                  </a:cubicBezTo>
                  <a:close/>
                  <a:moveTo>
                    <a:pt x="130" y="417"/>
                  </a:moveTo>
                  <a:cubicBezTo>
                    <a:pt x="128" y="421"/>
                    <a:pt x="124" y="422"/>
                    <a:pt x="124" y="429"/>
                  </a:cubicBezTo>
                  <a:cubicBezTo>
                    <a:pt x="129" y="428"/>
                    <a:pt x="130" y="419"/>
                    <a:pt x="130" y="417"/>
                  </a:cubicBezTo>
                  <a:close/>
                  <a:moveTo>
                    <a:pt x="1576" y="428"/>
                  </a:moveTo>
                  <a:cubicBezTo>
                    <a:pt x="1578" y="441"/>
                    <a:pt x="1584" y="458"/>
                    <a:pt x="1592" y="468"/>
                  </a:cubicBezTo>
                  <a:cubicBezTo>
                    <a:pt x="1593" y="451"/>
                    <a:pt x="1585" y="437"/>
                    <a:pt x="1576" y="428"/>
                  </a:cubicBezTo>
                  <a:close/>
                  <a:moveTo>
                    <a:pt x="128" y="436"/>
                  </a:moveTo>
                  <a:cubicBezTo>
                    <a:pt x="127" y="439"/>
                    <a:pt x="123" y="443"/>
                    <a:pt x="124" y="446"/>
                  </a:cubicBezTo>
                  <a:cubicBezTo>
                    <a:pt x="126" y="443"/>
                    <a:pt x="132" y="441"/>
                    <a:pt x="128" y="436"/>
                  </a:cubicBezTo>
                  <a:close/>
                  <a:moveTo>
                    <a:pt x="118" y="437"/>
                  </a:moveTo>
                  <a:cubicBezTo>
                    <a:pt x="117" y="444"/>
                    <a:pt x="110" y="450"/>
                    <a:pt x="111" y="455"/>
                  </a:cubicBezTo>
                  <a:cubicBezTo>
                    <a:pt x="113" y="450"/>
                    <a:pt x="121" y="441"/>
                    <a:pt x="118" y="437"/>
                  </a:cubicBezTo>
                  <a:close/>
                  <a:moveTo>
                    <a:pt x="112" y="495"/>
                  </a:moveTo>
                  <a:cubicBezTo>
                    <a:pt x="113" y="473"/>
                    <a:pt x="139" y="464"/>
                    <a:pt x="146" y="448"/>
                  </a:cubicBezTo>
                  <a:cubicBezTo>
                    <a:pt x="150" y="447"/>
                    <a:pt x="157" y="446"/>
                    <a:pt x="163" y="444"/>
                  </a:cubicBezTo>
                  <a:cubicBezTo>
                    <a:pt x="154" y="432"/>
                    <a:pt x="144" y="446"/>
                    <a:pt x="135" y="450"/>
                  </a:cubicBezTo>
                  <a:cubicBezTo>
                    <a:pt x="128" y="463"/>
                    <a:pt x="116" y="465"/>
                    <a:pt x="111" y="481"/>
                  </a:cubicBezTo>
                  <a:cubicBezTo>
                    <a:pt x="102" y="487"/>
                    <a:pt x="98" y="497"/>
                    <a:pt x="92" y="505"/>
                  </a:cubicBezTo>
                  <a:cubicBezTo>
                    <a:pt x="103" y="506"/>
                    <a:pt x="103" y="496"/>
                    <a:pt x="112" y="495"/>
                  </a:cubicBezTo>
                  <a:close/>
                  <a:moveTo>
                    <a:pt x="146" y="459"/>
                  </a:moveTo>
                  <a:cubicBezTo>
                    <a:pt x="148" y="459"/>
                    <a:pt x="150" y="459"/>
                    <a:pt x="149" y="455"/>
                  </a:cubicBezTo>
                  <a:cubicBezTo>
                    <a:pt x="146" y="455"/>
                    <a:pt x="145" y="456"/>
                    <a:pt x="146" y="459"/>
                  </a:cubicBezTo>
                  <a:close/>
                  <a:moveTo>
                    <a:pt x="92" y="496"/>
                  </a:moveTo>
                  <a:cubicBezTo>
                    <a:pt x="88" y="495"/>
                    <a:pt x="89" y="499"/>
                    <a:pt x="88" y="502"/>
                  </a:cubicBezTo>
                  <a:cubicBezTo>
                    <a:pt x="91" y="502"/>
                    <a:pt x="92" y="499"/>
                    <a:pt x="92" y="496"/>
                  </a:cubicBezTo>
                  <a:close/>
                  <a:moveTo>
                    <a:pt x="1606" y="540"/>
                  </a:moveTo>
                  <a:cubicBezTo>
                    <a:pt x="1603" y="524"/>
                    <a:pt x="1602" y="509"/>
                    <a:pt x="1589" y="502"/>
                  </a:cubicBezTo>
                  <a:cubicBezTo>
                    <a:pt x="1587" y="522"/>
                    <a:pt x="1598" y="536"/>
                    <a:pt x="1598" y="554"/>
                  </a:cubicBezTo>
                  <a:cubicBezTo>
                    <a:pt x="1594" y="553"/>
                    <a:pt x="1591" y="549"/>
                    <a:pt x="1586" y="549"/>
                  </a:cubicBezTo>
                  <a:cubicBezTo>
                    <a:pt x="1582" y="552"/>
                    <a:pt x="1581" y="563"/>
                    <a:pt x="1588" y="564"/>
                  </a:cubicBezTo>
                  <a:cubicBezTo>
                    <a:pt x="1590" y="562"/>
                    <a:pt x="1589" y="557"/>
                    <a:pt x="1591" y="555"/>
                  </a:cubicBezTo>
                  <a:cubicBezTo>
                    <a:pt x="1593" y="557"/>
                    <a:pt x="1592" y="560"/>
                    <a:pt x="1593" y="561"/>
                  </a:cubicBezTo>
                  <a:cubicBezTo>
                    <a:pt x="1597" y="562"/>
                    <a:pt x="1596" y="559"/>
                    <a:pt x="1599" y="559"/>
                  </a:cubicBezTo>
                  <a:cubicBezTo>
                    <a:pt x="1606" y="564"/>
                    <a:pt x="1595" y="578"/>
                    <a:pt x="1604" y="582"/>
                  </a:cubicBezTo>
                  <a:cubicBezTo>
                    <a:pt x="1603" y="575"/>
                    <a:pt x="1609" y="569"/>
                    <a:pt x="1603" y="565"/>
                  </a:cubicBezTo>
                  <a:cubicBezTo>
                    <a:pt x="1607" y="560"/>
                    <a:pt x="1609" y="552"/>
                    <a:pt x="1610" y="543"/>
                  </a:cubicBezTo>
                  <a:cubicBezTo>
                    <a:pt x="1609" y="541"/>
                    <a:pt x="1607" y="541"/>
                    <a:pt x="1606" y="540"/>
                  </a:cubicBezTo>
                  <a:close/>
                  <a:moveTo>
                    <a:pt x="99" y="526"/>
                  </a:moveTo>
                  <a:cubicBezTo>
                    <a:pt x="103" y="523"/>
                    <a:pt x="110" y="519"/>
                    <a:pt x="112" y="511"/>
                  </a:cubicBezTo>
                  <a:cubicBezTo>
                    <a:pt x="106" y="513"/>
                    <a:pt x="98" y="519"/>
                    <a:pt x="99" y="526"/>
                  </a:cubicBezTo>
                  <a:close/>
                  <a:moveTo>
                    <a:pt x="73" y="545"/>
                  </a:moveTo>
                  <a:cubicBezTo>
                    <a:pt x="73" y="537"/>
                    <a:pt x="80" y="533"/>
                    <a:pt x="85" y="533"/>
                  </a:cubicBezTo>
                  <a:cubicBezTo>
                    <a:pt x="86" y="529"/>
                    <a:pt x="88" y="528"/>
                    <a:pt x="89" y="524"/>
                  </a:cubicBezTo>
                  <a:cubicBezTo>
                    <a:pt x="85" y="523"/>
                    <a:pt x="83" y="529"/>
                    <a:pt x="81" y="527"/>
                  </a:cubicBezTo>
                  <a:cubicBezTo>
                    <a:pt x="82" y="521"/>
                    <a:pt x="86" y="517"/>
                    <a:pt x="88" y="512"/>
                  </a:cubicBezTo>
                  <a:cubicBezTo>
                    <a:pt x="73" y="520"/>
                    <a:pt x="67" y="536"/>
                    <a:pt x="59" y="551"/>
                  </a:cubicBezTo>
                  <a:cubicBezTo>
                    <a:pt x="65" y="550"/>
                    <a:pt x="66" y="542"/>
                    <a:pt x="73" y="545"/>
                  </a:cubicBezTo>
                  <a:close/>
                  <a:moveTo>
                    <a:pt x="1658" y="557"/>
                  </a:moveTo>
                  <a:cubicBezTo>
                    <a:pt x="1659" y="547"/>
                    <a:pt x="1652" y="532"/>
                    <a:pt x="1645" y="530"/>
                  </a:cubicBezTo>
                  <a:cubicBezTo>
                    <a:pt x="1650" y="539"/>
                    <a:pt x="1650" y="552"/>
                    <a:pt x="1658" y="557"/>
                  </a:cubicBezTo>
                  <a:close/>
                  <a:moveTo>
                    <a:pt x="53" y="556"/>
                  </a:moveTo>
                  <a:cubicBezTo>
                    <a:pt x="53" y="562"/>
                    <a:pt x="47" y="562"/>
                    <a:pt x="47" y="569"/>
                  </a:cubicBezTo>
                  <a:cubicBezTo>
                    <a:pt x="50" y="570"/>
                    <a:pt x="56" y="561"/>
                    <a:pt x="53" y="556"/>
                  </a:cubicBezTo>
                  <a:close/>
                  <a:moveTo>
                    <a:pt x="1578" y="581"/>
                  </a:moveTo>
                  <a:cubicBezTo>
                    <a:pt x="1575" y="583"/>
                    <a:pt x="1573" y="586"/>
                    <a:pt x="1574" y="592"/>
                  </a:cubicBezTo>
                  <a:cubicBezTo>
                    <a:pt x="1579" y="593"/>
                    <a:pt x="1579" y="589"/>
                    <a:pt x="1582" y="588"/>
                  </a:cubicBezTo>
                  <a:cubicBezTo>
                    <a:pt x="1584" y="592"/>
                    <a:pt x="1583" y="598"/>
                    <a:pt x="1586" y="601"/>
                  </a:cubicBezTo>
                  <a:cubicBezTo>
                    <a:pt x="1586" y="598"/>
                    <a:pt x="1584" y="593"/>
                    <a:pt x="1587" y="592"/>
                  </a:cubicBezTo>
                  <a:cubicBezTo>
                    <a:pt x="1592" y="600"/>
                    <a:pt x="1584" y="615"/>
                    <a:pt x="1595" y="617"/>
                  </a:cubicBezTo>
                  <a:cubicBezTo>
                    <a:pt x="1597" y="608"/>
                    <a:pt x="1590" y="604"/>
                    <a:pt x="1593" y="597"/>
                  </a:cubicBezTo>
                  <a:cubicBezTo>
                    <a:pt x="1596" y="597"/>
                    <a:pt x="1596" y="601"/>
                    <a:pt x="1598" y="599"/>
                  </a:cubicBezTo>
                  <a:cubicBezTo>
                    <a:pt x="1598" y="592"/>
                    <a:pt x="1597" y="587"/>
                    <a:pt x="1596" y="582"/>
                  </a:cubicBezTo>
                  <a:cubicBezTo>
                    <a:pt x="1595" y="581"/>
                    <a:pt x="1592" y="583"/>
                    <a:pt x="1588" y="582"/>
                  </a:cubicBezTo>
                  <a:cubicBezTo>
                    <a:pt x="1587" y="586"/>
                    <a:pt x="1593" y="589"/>
                    <a:pt x="1589" y="592"/>
                  </a:cubicBezTo>
                  <a:cubicBezTo>
                    <a:pt x="1588" y="590"/>
                    <a:pt x="1586" y="581"/>
                    <a:pt x="1584" y="586"/>
                  </a:cubicBezTo>
                  <a:cubicBezTo>
                    <a:pt x="1582" y="581"/>
                    <a:pt x="1578" y="579"/>
                    <a:pt x="1577" y="574"/>
                  </a:cubicBezTo>
                  <a:cubicBezTo>
                    <a:pt x="1579" y="573"/>
                    <a:pt x="1581" y="572"/>
                    <a:pt x="1583" y="572"/>
                  </a:cubicBezTo>
                  <a:cubicBezTo>
                    <a:pt x="1579" y="549"/>
                    <a:pt x="1561" y="585"/>
                    <a:pt x="1578" y="581"/>
                  </a:cubicBezTo>
                  <a:close/>
                  <a:moveTo>
                    <a:pt x="1587" y="632"/>
                  </a:moveTo>
                  <a:cubicBezTo>
                    <a:pt x="1590" y="635"/>
                    <a:pt x="1593" y="642"/>
                    <a:pt x="1598" y="640"/>
                  </a:cubicBezTo>
                  <a:cubicBezTo>
                    <a:pt x="1597" y="631"/>
                    <a:pt x="1590" y="628"/>
                    <a:pt x="1588" y="620"/>
                  </a:cubicBezTo>
                  <a:cubicBezTo>
                    <a:pt x="1578" y="618"/>
                    <a:pt x="1579" y="606"/>
                    <a:pt x="1572" y="600"/>
                  </a:cubicBezTo>
                  <a:cubicBezTo>
                    <a:pt x="1573" y="599"/>
                    <a:pt x="1575" y="599"/>
                    <a:pt x="1574" y="596"/>
                  </a:cubicBezTo>
                  <a:cubicBezTo>
                    <a:pt x="1570" y="593"/>
                    <a:pt x="1569" y="599"/>
                    <a:pt x="1565" y="599"/>
                  </a:cubicBezTo>
                  <a:cubicBezTo>
                    <a:pt x="1568" y="613"/>
                    <a:pt x="1561" y="624"/>
                    <a:pt x="1568" y="633"/>
                  </a:cubicBezTo>
                  <a:cubicBezTo>
                    <a:pt x="1569" y="632"/>
                    <a:pt x="1569" y="630"/>
                    <a:pt x="1571" y="629"/>
                  </a:cubicBezTo>
                  <a:cubicBezTo>
                    <a:pt x="1574" y="635"/>
                    <a:pt x="1569" y="638"/>
                    <a:pt x="1570" y="645"/>
                  </a:cubicBezTo>
                  <a:cubicBezTo>
                    <a:pt x="1579" y="651"/>
                    <a:pt x="1586" y="643"/>
                    <a:pt x="1587" y="632"/>
                  </a:cubicBezTo>
                  <a:close/>
                  <a:moveTo>
                    <a:pt x="1579" y="595"/>
                  </a:moveTo>
                  <a:cubicBezTo>
                    <a:pt x="1580" y="597"/>
                    <a:pt x="1579" y="601"/>
                    <a:pt x="1583" y="600"/>
                  </a:cubicBezTo>
                  <a:cubicBezTo>
                    <a:pt x="1583" y="598"/>
                    <a:pt x="1583" y="596"/>
                    <a:pt x="1582" y="595"/>
                  </a:cubicBezTo>
                  <a:lnTo>
                    <a:pt x="1579" y="595"/>
                  </a:lnTo>
                  <a:close/>
                  <a:moveTo>
                    <a:pt x="1613" y="598"/>
                  </a:moveTo>
                  <a:cubicBezTo>
                    <a:pt x="1612" y="620"/>
                    <a:pt x="1625" y="632"/>
                    <a:pt x="1631" y="649"/>
                  </a:cubicBezTo>
                  <a:cubicBezTo>
                    <a:pt x="1629" y="634"/>
                    <a:pt x="1621" y="624"/>
                    <a:pt x="1616" y="612"/>
                  </a:cubicBezTo>
                  <a:cubicBezTo>
                    <a:pt x="1620" y="608"/>
                    <a:pt x="1616" y="600"/>
                    <a:pt x="1613" y="598"/>
                  </a:cubicBezTo>
                  <a:close/>
                  <a:moveTo>
                    <a:pt x="54" y="629"/>
                  </a:moveTo>
                  <a:cubicBezTo>
                    <a:pt x="55" y="628"/>
                    <a:pt x="58" y="623"/>
                    <a:pt x="55" y="621"/>
                  </a:cubicBezTo>
                  <a:cubicBezTo>
                    <a:pt x="55" y="623"/>
                    <a:pt x="52" y="627"/>
                    <a:pt x="54" y="629"/>
                  </a:cubicBezTo>
                  <a:close/>
                  <a:moveTo>
                    <a:pt x="1310" y="675"/>
                  </a:moveTo>
                  <a:cubicBezTo>
                    <a:pt x="1314" y="674"/>
                    <a:pt x="1312" y="666"/>
                    <a:pt x="1314" y="662"/>
                  </a:cubicBezTo>
                  <a:cubicBezTo>
                    <a:pt x="1323" y="662"/>
                    <a:pt x="1324" y="654"/>
                    <a:pt x="1334" y="655"/>
                  </a:cubicBezTo>
                  <a:cubicBezTo>
                    <a:pt x="1334" y="652"/>
                    <a:pt x="1334" y="648"/>
                    <a:pt x="1331" y="648"/>
                  </a:cubicBezTo>
                  <a:cubicBezTo>
                    <a:pt x="1324" y="656"/>
                    <a:pt x="1293" y="662"/>
                    <a:pt x="1310" y="675"/>
                  </a:cubicBezTo>
                  <a:close/>
                  <a:moveTo>
                    <a:pt x="1601" y="655"/>
                  </a:moveTo>
                  <a:cubicBezTo>
                    <a:pt x="1600" y="653"/>
                    <a:pt x="1601" y="649"/>
                    <a:pt x="1597" y="649"/>
                  </a:cubicBezTo>
                  <a:cubicBezTo>
                    <a:pt x="1595" y="651"/>
                    <a:pt x="1596" y="656"/>
                    <a:pt x="1598" y="657"/>
                  </a:cubicBezTo>
                  <a:cubicBezTo>
                    <a:pt x="1598" y="656"/>
                    <a:pt x="1600" y="656"/>
                    <a:pt x="1601" y="655"/>
                  </a:cubicBezTo>
                  <a:close/>
                  <a:moveTo>
                    <a:pt x="1561" y="650"/>
                  </a:moveTo>
                  <a:cubicBezTo>
                    <a:pt x="1560" y="654"/>
                    <a:pt x="1561" y="658"/>
                    <a:pt x="1564" y="659"/>
                  </a:cubicBezTo>
                  <a:cubicBezTo>
                    <a:pt x="1563" y="656"/>
                    <a:pt x="1565" y="650"/>
                    <a:pt x="1561" y="650"/>
                  </a:cubicBezTo>
                  <a:close/>
                  <a:moveTo>
                    <a:pt x="1376" y="658"/>
                  </a:moveTo>
                  <a:cubicBezTo>
                    <a:pt x="1375" y="655"/>
                    <a:pt x="1373" y="652"/>
                    <a:pt x="1369" y="652"/>
                  </a:cubicBezTo>
                  <a:cubicBezTo>
                    <a:pt x="1365" y="657"/>
                    <a:pt x="1372" y="661"/>
                    <a:pt x="1376" y="658"/>
                  </a:cubicBezTo>
                  <a:close/>
                  <a:moveTo>
                    <a:pt x="1573" y="656"/>
                  </a:moveTo>
                  <a:cubicBezTo>
                    <a:pt x="1573" y="659"/>
                    <a:pt x="1574" y="660"/>
                    <a:pt x="1575" y="661"/>
                  </a:cubicBezTo>
                  <a:cubicBezTo>
                    <a:pt x="1577" y="659"/>
                    <a:pt x="1576" y="655"/>
                    <a:pt x="1573" y="656"/>
                  </a:cubicBezTo>
                  <a:close/>
                  <a:moveTo>
                    <a:pt x="1606" y="656"/>
                  </a:moveTo>
                  <a:cubicBezTo>
                    <a:pt x="1606" y="659"/>
                    <a:pt x="1607" y="661"/>
                    <a:pt x="1609" y="663"/>
                  </a:cubicBezTo>
                  <a:cubicBezTo>
                    <a:pt x="1611" y="661"/>
                    <a:pt x="1608" y="659"/>
                    <a:pt x="1609" y="656"/>
                  </a:cubicBezTo>
                  <a:lnTo>
                    <a:pt x="1606" y="656"/>
                  </a:lnTo>
                  <a:close/>
                  <a:moveTo>
                    <a:pt x="1623" y="742"/>
                  </a:moveTo>
                  <a:cubicBezTo>
                    <a:pt x="1623" y="744"/>
                    <a:pt x="1619" y="741"/>
                    <a:pt x="1620" y="744"/>
                  </a:cubicBezTo>
                  <a:cubicBezTo>
                    <a:pt x="1621" y="755"/>
                    <a:pt x="1634" y="764"/>
                    <a:pt x="1624" y="774"/>
                  </a:cubicBezTo>
                  <a:cubicBezTo>
                    <a:pt x="1626" y="789"/>
                    <a:pt x="1627" y="807"/>
                    <a:pt x="1635" y="816"/>
                  </a:cubicBezTo>
                  <a:cubicBezTo>
                    <a:pt x="1634" y="813"/>
                    <a:pt x="1634" y="809"/>
                    <a:pt x="1636" y="806"/>
                  </a:cubicBezTo>
                  <a:cubicBezTo>
                    <a:pt x="1639" y="807"/>
                    <a:pt x="1640" y="812"/>
                    <a:pt x="1643" y="814"/>
                  </a:cubicBezTo>
                  <a:cubicBezTo>
                    <a:pt x="1644" y="812"/>
                    <a:pt x="1644" y="809"/>
                    <a:pt x="1646" y="810"/>
                  </a:cubicBezTo>
                  <a:cubicBezTo>
                    <a:pt x="1647" y="814"/>
                    <a:pt x="1649" y="818"/>
                    <a:pt x="1652" y="820"/>
                  </a:cubicBezTo>
                  <a:cubicBezTo>
                    <a:pt x="1652" y="817"/>
                    <a:pt x="1652" y="814"/>
                    <a:pt x="1654" y="813"/>
                  </a:cubicBezTo>
                  <a:cubicBezTo>
                    <a:pt x="1654" y="819"/>
                    <a:pt x="1656" y="822"/>
                    <a:pt x="1660" y="824"/>
                  </a:cubicBezTo>
                  <a:cubicBezTo>
                    <a:pt x="1662" y="802"/>
                    <a:pt x="1680" y="782"/>
                    <a:pt x="1666" y="762"/>
                  </a:cubicBezTo>
                  <a:cubicBezTo>
                    <a:pt x="1665" y="761"/>
                    <a:pt x="1661" y="763"/>
                    <a:pt x="1661" y="761"/>
                  </a:cubicBezTo>
                  <a:cubicBezTo>
                    <a:pt x="1665" y="735"/>
                    <a:pt x="1644" y="720"/>
                    <a:pt x="1644" y="691"/>
                  </a:cubicBezTo>
                  <a:cubicBezTo>
                    <a:pt x="1634" y="685"/>
                    <a:pt x="1638" y="666"/>
                    <a:pt x="1630" y="658"/>
                  </a:cubicBezTo>
                  <a:cubicBezTo>
                    <a:pt x="1627" y="666"/>
                    <a:pt x="1621" y="668"/>
                    <a:pt x="1614" y="671"/>
                  </a:cubicBezTo>
                  <a:cubicBezTo>
                    <a:pt x="1614" y="677"/>
                    <a:pt x="1618" y="677"/>
                    <a:pt x="1621" y="680"/>
                  </a:cubicBezTo>
                  <a:cubicBezTo>
                    <a:pt x="1622" y="684"/>
                    <a:pt x="1618" y="683"/>
                    <a:pt x="1619" y="687"/>
                  </a:cubicBezTo>
                  <a:cubicBezTo>
                    <a:pt x="1621" y="689"/>
                    <a:pt x="1624" y="689"/>
                    <a:pt x="1625" y="690"/>
                  </a:cubicBezTo>
                  <a:cubicBezTo>
                    <a:pt x="1623" y="696"/>
                    <a:pt x="1628" y="708"/>
                    <a:pt x="1620" y="710"/>
                  </a:cubicBezTo>
                  <a:cubicBezTo>
                    <a:pt x="1620" y="714"/>
                    <a:pt x="1621" y="715"/>
                    <a:pt x="1621" y="719"/>
                  </a:cubicBezTo>
                  <a:cubicBezTo>
                    <a:pt x="1618" y="721"/>
                    <a:pt x="1616" y="726"/>
                    <a:pt x="1614" y="731"/>
                  </a:cubicBezTo>
                  <a:cubicBezTo>
                    <a:pt x="1617" y="735"/>
                    <a:pt x="1623" y="735"/>
                    <a:pt x="1623" y="742"/>
                  </a:cubicBezTo>
                  <a:close/>
                  <a:moveTo>
                    <a:pt x="1548" y="668"/>
                  </a:moveTo>
                  <a:cubicBezTo>
                    <a:pt x="1547" y="667"/>
                    <a:pt x="1547" y="667"/>
                    <a:pt x="1547" y="666"/>
                  </a:cubicBezTo>
                  <a:cubicBezTo>
                    <a:pt x="1542" y="666"/>
                    <a:pt x="1542" y="666"/>
                    <a:pt x="1542" y="666"/>
                  </a:cubicBezTo>
                  <a:cubicBezTo>
                    <a:pt x="1542" y="668"/>
                    <a:pt x="1542" y="670"/>
                    <a:pt x="1543" y="671"/>
                  </a:cubicBezTo>
                  <a:cubicBezTo>
                    <a:pt x="1546" y="672"/>
                    <a:pt x="1548" y="670"/>
                    <a:pt x="1548" y="668"/>
                  </a:cubicBezTo>
                  <a:close/>
                  <a:moveTo>
                    <a:pt x="1350" y="702"/>
                  </a:moveTo>
                  <a:cubicBezTo>
                    <a:pt x="1351" y="700"/>
                    <a:pt x="1354" y="700"/>
                    <a:pt x="1353" y="697"/>
                  </a:cubicBezTo>
                  <a:cubicBezTo>
                    <a:pt x="1346" y="688"/>
                    <a:pt x="1330" y="688"/>
                    <a:pt x="1324" y="677"/>
                  </a:cubicBezTo>
                  <a:cubicBezTo>
                    <a:pt x="1325" y="675"/>
                    <a:pt x="1329" y="676"/>
                    <a:pt x="1328" y="672"/>
                  </a:cubicBezTo>
                  <a:cubicBezTo>
                    <a:pt x="1326" y="669"/>
                    <a:pt x="1324" y="666"/>
                    <a:pt x="1317" y="667"/>
                  </a:cubicBezTo>
                  <a:cubicBezTo>
                    <a:pt x="1310" y="689"/>
                    <a:pt x="1330" y="700"/>
                    <a:pt x="1350" y="702"/>
                  </a:cubicBezTo>
                  <a:close/>
                  <a:moveTo>
                    <a:pt x="1274" y="691"/>
                  </a:moveTo>
                  <a:cubicBezTo>
                    <a:pt x="1282" y="690"/>
                    <a:pt x="1291" y="682"/>
                    <a:pt x="1293" y="671"/>
                  </a:cubicBezTo>
                  <a:cubicBezTo>
                    <a:pt x="1287" y="669"/>
                    <a:pt x="1272" y="680"/>
                    <a:pt x="1274" y="691"/>
                  </a:cubicBezTo>
                  <a:close/>
                  <a:moveTo>
                    <a:pt x="1541" y="696"/>
                  </a:moveTo>
                  <a:cubicBezTo>
                    <a:pt x="1546" y="696"/>
                    <a:pt x="1547" y="698"/>
                    <a:pt x="1547" y="702"/>
                  </a:cubicBezTo>
                  <a:cubicBezTo>
                    <a:pt x="1547" y="705"/>
                    <a:pt x="1542" y="703"/>
                    <a:pt x="1542" y="707"/>
                  </a:cubicBezTo>
                  <a:cubicBezTo>
                    <a:pt x="1546" y="712"/>
                    <a:pt x="1552" y="706"/>
                    <a:pt x="1555" y="704"/>
                  </a:cubicBezTo>
                  <a:cubicBezTo>
                    <a:pt x="1558" y="695"/>
                    <a:pt x="1557" y="681"/>
                    <a:pt x="1550" y="672"/>
                  </a:cubicBezTo>
                  <a:cubicBezTo>
                    <a:pt x="1548" y="680"/>
                    <a:pt x="1553" y="687"/>
                    <a:pt x="1551" y="692"/>
                  </a:cubicBezTo>
                  <a:cubicBezTo>
                    <a:pt x="1546" y="691"/>
                    <a:pt x="1549" y="682"/>
                    <a:pt x="1541" y="684"/>
                  </a:cubicBezTo>
                  <a:cubicBezTo>
                    <a:pt x="1540" y="689"/>
                    <a:pt x="1542" y="692"/>
                    <a:pt x="1541" y="696"/>
                  </a:cubicBezTo>
                  <a:close/>
                  <a:moveTo>
                    <a:pt x="207" y="678"/>
                  </a:moveTo>
                  <a:cubicBezTo>
                    <a:pt x="204" y="678"/>
                    <a:pt x="204" y="678"/>
                    <a:pt x="204" y="678"/>
                  </a:cubicBezTo>
                  <a:cubicBezTo>
                    <a:pt x="204" y="683"/>
                    <a:pt x="201" y="684"/>
                    <a:pt x="198" y="684"/>
                  </a:cubicBezTo>
                  <a:cubicBezTo>
                    <a:pt x="198" y="688"/>
                    <a:pt x="198" y="688"/>
                    <a:pt x="198" y="688"/>
                  </a:cubicBezTo>
                  <a:cubicBezTo>
                    <a:pt x="203" y="686"/>
                    <a:pt x="200" y="692"/>
                    <a:pt x="202" y="694"/>
                  </a:cubicBezTo>
                  <a:cubicBezTo>
                    <a:pt x="204" y="694"/>
                    <a:pt x="206" y="693"/>
                    <a:pt x="207" y="693"/>
                  </a:cubicBezTo>
                  <a:cubicBezTo>
                    <a:pt x="208" y="689"/>
                    <a:pt x="206" y="687"/>
                    <a:pt x="205" y="686"/>
                  </a:cubicBezTo>
                  <a:cubicBezTo>
                    <a:pt x="212" y="685"/>
                    <a:pt x="204" y="681"/>
                    <a:pt x="207" y="678"/>
                  </a:cubicBezTo>
                  <a:close/>
                  <a:moveTo>
                    <a:pt x="1525" y="706"/>
                  </a:moveTo>
                  <a:cubicBezTo>
                    <a:pt x="1526" y="704"/>
                    <a:pt x="1528" y="703"/>
                    <a:pt x="1527" y="699"/>
                  </a:cubicBezTo>
                  <a:cubicBezTo>
                    <a:pt x="1525" y="697"/>
                    <a:pt x="1525" y="701"/>
                    <a:pt x="1522" y="700"/>
                  </a:cubicBezTo>
                  <a:cubicBezTo>
                    <a:pt x="1519" y="695"/>
                    <a:pt x="1516" y="689"/>
                    <a:pt x="1511" y="685"/>
                  </a:cubicBezTo>
                  <a:cubicBezTo>
                    <a:pt x="1506" y="687"/>
                    <a:pt x="1501" y="686"/>
                    <a:pt x="1497" y="687"/>
                  </a:cubicBezTo>
                  <a:cubicBezTo>
                    <a:pt x="1494" y="692"/>
                    <a:pt x="1496" y="701"/>
                    <a:pt x="1492" y="706"/>
                  </a:cubicBezTo>
                  <a:cubicBezTo>
                    <a:pt x="1491" y="706"/>
                    <a:pt x="1491" y="704"/>
                    <a:pt x="1490" y="704"/>
                  </a:cubicBezTo>
                  <a:cubicBezTo>
                    <a:pt x="1489" y="708"/>
                    <a:pt x="1489" y="710"/>
                    <a:pt x="1486" y="711"/>
                  </a:cubicBezTo>
                  <a:cubicBezTo>
                    <a:pt x="1479" y="708"/>
                    <a:pt x="1475" y="703"/>
                    <a:pt x="1476" y="694"/>
                  </a:cubicBezTo>
                  <a:cubicBezTo>
                    <a:pt x="1473" y="692"/>
                    <a:pt x="1469" y="691"/>
                    <a:pt x="1468" y="688"/>
                  </a:cubicBezTo>
                  <a:cubicBezTo>
                    <a:pt x="1471" y="685"/>
                    <a:pt x="1465" y="682"/>
                    <a:pt x="1465" y="680"/>
                  </a:cubicBezTo>
                  <a:cubicBezTo>
                    <a:pt x="1434" y="684"/>
                    <a:pt x="1406" y="677"/>
                    <a:pt x="1382" y="690"/>
                  </a:cubicBezTo>
                  <a:cubicBezTo>
                    <a:pt x="1382" y="694"/>
                    <a:pt x="1382" y="698"/>
                    <a:pt x="1379" y="699"/>
                  </a:cubicBezTo>
                  <a:cubicBezTo>
                    <a:pt x="1375" y="699"/>
                    <a:pt x="1366" y="699"/>
                    <a:pt x="1362" y="701"/>
                  </a:cubicBezTo>
                  <a:cubicBezTo>
                    <a:pt x="1361" y="708"/>
                    <a:pt x="1367" y="708"/>
                    <a:pt x="1368" y="714"/>
                  </a:cubicBezTo>
                  <a:cubicBezTo>
                    <a:pt x="1365" y="718"/>
                    <a:pt x="1361" y="719"/>
                    <a:pt x="1356" y="721"/>
                  </a:cubicBezTo>
                  <a:cubicBezTo>
                    <a:pt x="1355" y="729"/>
                    <a:pt x="1350" y="733"/>
                    <a:pt x="1343" y="729"/>
                  </a:cubicBezTo>
                  <a:cubicBezTo>
                    <a:pt x="1343" y="732"/>
                    <a:pt x="1343" y="735"/>
                    <a:pt x="1342" y="736"/>
                  </a:cubicBezTo>
                  <a:cubicBezTo>
                    <a:pt x="1334" y="737"/>
                    <a:pt x="1330" y="742"/>
                    <a:pt x="1328" y="749"/>
                  </a:cubicBezTo>
                  <a:cubicBezTo>
                    <a:pt x="1342" y="740"/>
                    <a:pt x="1361" y="759"/>
                    <a:pt x="1367" y="739"/>
                  </a:cubicBezTo>
                  <a:cubicBezTo>
                    <a:pt x="1372" y="739"/>
                    <a:pt x="1372" y="739"/>
                    <a:pt x="1372" y="739"/>
                  </a:cubicBezTo>
                  <a:cubicBezTo>
                    <a:pt x="1371" y="726"/>
                    <a:pt x="1388" y="734"/>
                    <a:pt x="1394" y="728"/>
                  </a:cubicBezTo>
                  <a:cubicBezTo>
                    <a:pt x="1395" y="733"/>
                    <a:pt x="1401" y="732"/>
                    <a:pt x="1400" y="740"/>
                  </a:cubicBezTo>
                  <a:cubicBezTo>
                    <a:pt x="1402" y="742"/>
                    <a:pt x="1408" y="741"/>
                    <a:pt x="1409" y="744"/>
                  </a:cubicBezTo>
                  <a:cubicBezTo>
                    <a:pt x="1407" y="746"/>
                    <a:pt x="1402" y="744"/>
                    <a:pt x="1402" y="748"/>
                  </a:cubicBezTo>
                  <a:cubicBezTo>
                    <a:pt x="1404" y="752"/>
                    <a:pt x="1406" y="754"/>
                    <a:pt x="1409" y="756"/>
                  </a:cubicBezTo>
                  <a:cubicBezTo>
                    <a:pt x="1415" y="753"/>
                    <a:pt x="1419" y="760"/>
                    <a:pt x="1424" y="760"/>
                  </a:cubicBezTo>
                  <a:cubicBezTo>
                    <a:pt x="1430" y="760"/>
                    <a:pt x="1432" y="755"/>
                    <a:pt x="1437" y="751"/>
                  </a:cubicBezTo>
                  <a:cubicBezTo>
                    <a:pt x="1442" y="756"/>
                    <a:pt x="1449" y="760"/>
                    <a:pt x="1456" y="763"/>
                  </a:cubicBezTo>
                  <a:cubicBezTo>
                    <a:pt x="1458" y="752"/>
                    <a:pt x="1452" y="749"/>
                    <a:pt x="1447" y="745"/>
                  </a:cubicBezTo>
                  <a:cubicBezTo>
                    <a:pt x="1450" y="740"/>
                    <a:pt x="1452" y="736"/>
                    <a:pt x="1454" y="728"/>
                  </a:cubicBezTo>
                  <a:cubicBezTo>
                    <a:pt x="1463" y="726"/>
                    <a:pt x="1476" y="721"/>
                    <a:pt x="1484" y="726"/>
                  </a:cubicBezTo>
                  <a:cubicBezTo>
                    <a:pt x="1488" y="722"/>
                    <a:pt x="1496" y="722"/>
                    <a:pt x="1499" y="719"/>
                  </a:cubicBezTo>
                  <a:cubicBezTo>
                    <a:pt x="1501" y="724"/>
                    <a:pt x="1500" y="731"/>
                    <a:pt x="1506" y="731"/>
                  </a:cubicBezTo>
                  <a:cubicBezTo>
                    <a:pt x="1506" y="722"/>
                    <a:pt x="1506" y="722"/>
                    <a:pt x="1506" y="722"/>
                  </a:cubicBezTo>
                  <a:cubicBezTo>
                    <a:pt x="1507" y="719"/>
                    <a:pt x="1514" y="722"/>
                    <a:pt x="1514" y="719"/>
                  </a:cubicBezTo>
                  <a:cubicBezTo>
                    <a:pt x="1510" y="713"/>
                    <a:pt x="1503" y="710"/>
                    <a:pt x="1497" y="705"/>
                  </a:cubicBezTo>
                  <a:cubicBezTo>
                    <a:pt x="1504" y="701"/>
                    <a:pt x="1507" y="712"/>
                    <a:pt x="1513" y="710"/>
                  </a:cubicBezTo>
                  <a:cubicBezTo>
                    <a:pt x="1515" y="710"/>
                    <a:pt x="1514" y="705"/>
                    <a:pt x="1516" y="704"/>
                  </a:cubicBezTo>
                  <a:cubicBezTo>
                    <a:pt x="1519" y="705"/>
                    <a:pt x="1521" y="707"/>
                    <a:pt x="1525" y="706"/>
                  </a:cubicBezTo>
                  <a:close/>
                  <a:moveTo>
                    <a:pt x="1262" y="683"/>
                  </a:moveTo>
                  <a:cubicBezTo>
                    <a:pt x="1262" y="689"/>
                    <a:pt x="1262" y="689"/>
                    <a:pt x="1262" y="689"/>
                  </a:cubicBezTo>
                  <a:cubicBezTo>
                    <a:pt x="1265" y="689"/>
                    <a:pt x="1267" y="687"/>
                    <a:pt x="1267" y="684"/>
                  </a:cubicBezTo>
                  <a:cubicBezTo>
                    <a:pt x="1266" y="683"/>
                    <a:pt x="1264" y="683"/>
                    <a:pt x="1262" y="683"/>
                  </a:cubicBezTo>
                  <a:close/>
                  <a:moveTo>
                    <a:pt x="1232" y="697"/>
                  </a:moveTo>
                  <a:cubicBezTo>
                    <a:pt x="1239" y="696"/>
                    <a:pt x="1246" y="694"/>
                    <a:pt x="1248" y="687"/>
                  </a:cubicBezTo>
                  <a:cubicBezTo>
                    <a:pt x="1241" y="688"/>
                    <a:pt x="1234" y="691"/>
                    <a:pt x="1232" y="697"/>
                  </a:cubicBezTo>
                  <a:close/>
                  <a:moveTo>
                    <a:pt x="196" y="694"/>
                  </a:moveTo>
                  <a:cubicBezTo>
                    <a:pt x="199" y="694"/>
                    <a:pt x="199" y="689"/>
                    <a:pt x="196" y="689"/>
                  </a:cubicBezTo>
                  <a:cubicBezTo>
                    <a:pt x="196" y="690"/>
                    <a:pt x="195" y="691"/>
                    <a:pt x="196" y="694"/>
                  </a:cubicBezTo>
                  <a:close/>
                  <a:moveTo>
                    <a:pt x="1222" y="693"/>
                  </a:moveTo>
                  <a:cubicBezTo>
                    <a:pt x="1217" y="695"/>
                    <a:pt x="1211" y="703"/>
                    <a:pt x="1214" y="706"/>
                  </a:cubicBezTo>
                  <a:cubicBezTo>
                    <a:pt x="1219" y="704"/>
                    <a:pt x="1226" y="700"/>
                    <a:pt x="1222" y="693"/>
                  </a:cubicBezTo>
                  <a:close/>
                  <a:moveTo>
                    <a:pt x="1604" y="812"/>
                  </a:moveTo>
                  <a:cubicBezTo>
                    <a:pt x="1609" y="805"/>
                    <a:pt x="1603" y="789"/>
                    <a:pt x="1609" y="781"/>
                  </a:cubicBezTo>
                  <a:cubicBezTo>
                    <a:pt x="1611" y="781"/>
                    <a:pt x="1609" y="785"/>
                    <a:pt x="1612" y="784"/>
                  </a:cubicBezTo>
                  <a:cubicBezTo>
                    <a:pt x="1615" y="776"/>
                    <a:pt x="1615" y="767"/>
                    <a:pt x="1611" y="762"/>
                  </a:cubicBezTo>
                  <a:cubicBezTo>
                    <a:pt x="1616" y="746"/>
                    <a:pt x="1609" y="726"/>
                    <a:pt x="1604" y="712"/>
                  </a:cubicBezTo>
                  <a:cubicBezTo>
                    <a:pt x="1594" y="717"/>
                    <a:pt x="1588" y="707"/>
                    <a:pt x="1581" y="704"/>
                  </a:cubicBezTo>
                  <a:cubicBezTo>
                    <a:pt x="1580" y="699"/>
                    <a:pt x="1575" y="693"/>
                    <a:pt x="1571" y="694"/>
                  </a:cubicBezTo>
                  <a:cubicBezTo>
                    <a:pt x="1574" y="703"/>
                    <a:pt x="1577" y="714"/>
                    <a:pt x="1587" y="718"/>
                  </a:cubicBezTo>
                  <a:cubicBezTo>
                    <a:pt x="1589" y="719"/>
                    <a:pt x="1592" y="716"/>
                    <a:pt x="1595" y="718"/>
                  </a:cubicBezTo>
                  <a:cubicBezTo>
                    <a:pt x="1597" y="718"/>
                    <a:pt x="1597" y="722"/>
                    <a:pt x="1598" y="723"/>
                  </a:cubicBezTo>
                  <a:cubicBezTo>
                    <a:pt x="1601" y="726"/>
                    <a:pt x="1604" y="724"/>
                    <a:pt x="1607" y="726"/>
                  </a:cubicBezTo>
                  <a:cubicBezTo>
                    <a:pt x="1607" y="731"/>
                    <a:pt x="1608" y="735"/>
                    <a:pt x="1608" y="741"/>
                  </a:cubicBezTo>
                  <a:cubicBezTo>
                    <a:pt x="1602" y="739"/>
                    <a:pt x="1602" y="743"/>
                    <a:pt x="1600" y="744"/>
                  </a:cubicBezTo>
                  <a:cubicBezTo>
                    <a:pt x="1598" y="736"/>
                    <a:pt x="1591" y="728"/>
                    <a:pt x="1586" y="726"/>
                  </a:cubicBezTo>
                  <a:cubicBezTo>
                    <a:pt x="1585" y="734"/>
                    <a:pt x="1593" y="741"/>
                    <a:pt x="1594" y="749"/>
                  </a:cubicBezTo>
                  <a:cubicBezTo>
                    <a:pt x="1592" y="748"/>
                    <a:pt x="1592" y="751"/>
                    <a:pt x="1589" y="750"/>
                  </a:cubicBezTo>
                  <a:cubicBezTo>
                    <a:pt x="1592" y="760"/>
                    <a:pt x="1582" y="760"/>
                    <a:pt x="1587" y="769"/>
                  </a:cubicBezTo>
                  <a:cubicBezTo>
                    <a:pt x="1583" y="774"/>
                    <a:pt x="1576" y="775"/>
                    <a:pt x="1578" y="785"/>
                  </a:cubicBezTo>
                  <a:cubicBezTo>
                    <a:pt x="1583" y="786"/>
                    <a:pt x="1581" y="791"/>
                    <a:pt x="1581" y="796"/>
                  </a:cubicBezTo>
                  <a:cubicBezTo>
                    <a:pt x="1583" y="797"/>
                    <a:pt x="1585" y="798"/>
                    <a:pt x="1587" y="799"/>
                  </a:cubicBezTo>
                  <a:cubicBezTo>
                    <a:pt x="1592" y="786"/>
                    <a:pt x="1596" y="772"/>
                    <a:pt x="1603" y="760"/>
                  </a:cubicBezTo>
                  <a:cubicBezTo>
                    <a:pt x="1603" y="772"/>
                    <a:pt x="1592" y="808"/>
                    <a:pt x="1604" y="812"/>
                  </a:cubicBezTo>
                  <a:close/>
                  <a:moveTo>
                    <a:pt x="187" y="697"/>
                  </a:moveTo>
                  <a:cubicBezTo>
                    <a:pt x="188" y="698"/>
                    <a:pt x="189" y="699"/>
                    <a:pt x="191" y="698"/>
                  </a:cubicBezTo>
                  <a:cubicBezTo>
                    <a:pt x="191" y="696"/>
                    <a:pt x="190" y="695"/>
                    <a:pt x="189" y="695"/>
                  </a:cubicBezTo>
                  <a:cubicBezTo>
                    <a:pt x="189" y="696"/>
                    <a:pt x="187" y="696"/>
                    <a:pt x="187" y="697"/>
                  </a:cubicBezTo>
                  <a:close/>
                  <a:moveTo>
                    <a:pt x="1253" y="697"/>
                  </a:moveTo>
                  <a:cubicBezTo>
                    <a:pt x="1252" y="701"/>
                    <a:pt x="1256" y="700"/>
                    <a:pt x="1255" y="703"/>
                  </a:cubicBezTo>
                  <a:cubicBezTo>
                    <a:pt x="1252" y="703"/>
                    <a:pt x="1251" y="704"/>
                    <a:pt x="1251" y="707"/>
                  </a:cubicBezTo>
                  <a:cubicBezTo>
                    <a:pt x="1258" y="709"/>
                    <a:pt x="1257" y="698"/>
                    <a:pt x="1266" y="700"/>
                  </a:cubicBezTo>
                  <a:cubicBezTo>
                    <a:pt x="1264" y="693"/>
                    <a:pt x="1259" y="700"/>
                    <a:pt x="1253" y="697"/>
                  </a:cubicBezTo>
                  <a:close/>
                  <a:moveTo>
                    <a:pt x="1692" y="805"/>
                  </a:moveTo>
                  <a:cubicBezTo>
                    <a:pt x="1700" y="797"/>
                    <a:pt x="1701" y="784"/>
                    <a:pt x="1703" y="769"/>
                  </a:cubicBezTo>
                  <a:cubicBezTo>
                    <a:pt x="1705" y="747"/>
                    <a:pt x="1704" y="720"/>
                    <a:pt x="1701" y="701"/>
                  </a:cubicBezTo>
                  <a:cubicBezTo>
                    <a:pt x="1701" y="715"/>
                    <a:pt x="1702" y="730"/>
                    <a:pt x="1700" y="742"/>
                  </a:cubicBezTo>
                  <a:cubicBezTo>
                    <a:pt x="1700" y="740"/>
                    <a:pt x="1700" y="739"/>
                    <a:pt x="1699" y="739"/>
                  </a:cubicBezTo>
                  <a:cubicBezTo>
                    <a:pt x="1700" y="744"/>
                    <a:pt x="1695" y="747"/>
                    <a:pt x="1694" y="752"/>
                  </a:cubicBezTo>
                  <a:cubicBezTo>
                    <a:pt x="1692" y="762"/>
                    <a:pt x="1695" y="773"/>
                    <a:pt x="1693" y="784"/>
                  </a:cubicBezTo>
                  <a:cubicBezTo>
                    <a:pt x="1691" y="792"/>
                    <a:pt x="1685" y="799"/>
                    <a:pt x="1692" y="805"/>
                  </a:cubicBezTo>
                  <a:close/>
                  <a:moveTo>
                    <a:pt x="1234" y="706"/>
                  </a:moveTo>
                  <a:cubicBezTo>
                    <a:pt x="1230" y="704"/>
                    <a:pt x="1222" y="705"/>
                    <a:pt x="1221" y="710"/>
                  </a:cubicBezTo>
                  <a:cubicBezTo>
                    <a:pt x="1223" y="714"/>
                    <a:pt x="1229" y="712"/>
                    <a:pt x="1233" y="711"/>
                  </a:cubicBezTo>
                  <a:cubicBezTo>
                    <a:pt x="1233" y="709"/>
                    <a:pt x="1235" y="709"/>
                    <a:pt x="1234" y="706"/>
                  </a:cubicBezTo>
                  <a:close/>
                  <a:moveTo>
                    <a:pt x="1204" y="718"/>
                  </a:moveTo>
                  <a:cubicBezTo>
                    <a:pt x="1206" y="723"/>
                    <a:pt x="1213" y="718"/>
                    <a:pt x="1213" y="714"/>
                  </a:cubicBezTo>
                  <a:cubicBezTo>
                    <a:pt x="1209" y="714"/>
                    <a:pt x="1205" y="714"/>
                    <a:pt x="1204" y="718"/>
                  </a:cubicBezTo>
                  <a:close/>
                  <a:moveTo>
                    <a:pt x="1531" y="737"/>
                  </a:moveTo>
                  <a:cubicBezTo>
                    <a:pt x="1532" y="736"/>
                    <a:pt x="1531" y="733"/>
                    <a:pt x="1533" y="733"/>
                  </a:cubicBezTo>
                  <a:cubicBezTo>
                    <a:pt x="1535" y="736"/>
                    <a:pt x="1540" y="738"/>
                    <a:pt x="1541" y="742"/>
                  </a:cubicBezTo>
                  <a:cubicBezTo>
                    <a:pt x="1542" y="739"/>
                    <a:pt x="1543" y="742"/>
                    <a:pt x="1545" y="742"/>
                  </a:cubicBezTo>
                  <a:cubicBezTo>
                    <a:pt x="1549" y="732"/>
                    <a:pt x="1537" y="730"/>
                    <a:pt x="1535" y="723"/>
                  </a:cubicBezTo>
                  <a:cubicBezTo>
                    <a:pt x="1536" y="722"/>
                    <a:pt x="1537" y="721"/>
                    <a:pt x="1537" y="718"/>
                  </a:cubicBezTo>
                  <a:cubicBezTo>
                    <a:pt x="1533" y="717"/>
                    <a:pt x="1532" y="715"/>
                    <a:pt x="1529" y="715"/>
                  </a:cubicBezTo>
                  <a:cubicBezTo>
                    <a:pt x="1528" y="720"/>
                    <a:pt x="1533" y="721"/>
                    <a:pt x="1533" y="725"/>
                  </a:cubicBezTo>
                  <a:cubicBezTo>
                    <a:pt x="1530" y="725"/>
                    <a:pt x="1527" y="726"/>
                    <a:pt x="1525" y="726"/>
                  </a:cubicBezTo>
                  <a:cubicBezTo>
                    <a:pt x="1526" y="731"/>
                    <a:pt x="1521" y="730"/>
                    <a:pt x="1522" y="736"/>
                  </a:cubicBezTo>
                  <a:cubicBezTo>
                    <a:pt x="1526" y="735"/>
                    <a:pt x="1528" y="735"/>
                    <a:pt x="1531" y="737"/>
                  </a:cubicBezTo>
                  <a:close/>
                  <a:moveTo>
                    <a:pt x="1564" y="733"/>
                  </a:moveTo>
                  <a:cubicBezTo>
                    <a:pt x="1568" y="735"/>
                    <a:pt x="1571" y="742"/>
                    <a:pt x="1577" y="739"/>
                  </a:cubicBezTo>
                  <a:cubicBezTo>
                    <a:pt x="1576" y="734"/>
                    <a:pt x="1567" y="732"/>
                    <a:pt x="1564" y="733"/>
                  </a:cubicBezTo>
                  <a:close/>
                  <a:moveTo>
                    <a:pt x="1586" y="743"/>
                  </a:moveTo>
                  <a:cubicBezTo>
                    <a:pt x="1588" y="741"/>
                    <a:pt x="1585" y="738"/>
                    <a:pt x="1583" y="738"/>
                  </a:cubicBezTo>
                  <a:cubicBezTo>
                    <a:pt x="1583" y="741"/>
                    <a:pt x="1582" y="744"/>
                    <a:pt x="1586" y="743"/>
                  </a:cubicBezTo>
                  <a:close/>
                  <a:moveTo>
                    <a:pt x="1490" y="759"/>
                  </a:moveTo>
                  <a:cubicBezTo>
                    <a:pt x="1492" y="752"/>
                    <a:pt x="1491" y="747"/>
                    <a:pt x="1489" y="741"/>
                  </a:cubicBezTo>
                  <a:cubicBezTo>
                    <a:pt x="1486" y="741"/>
                    <a:pt x="1486" y="741"/>
                    <a:pt x="1486" y="741"/>
                  </a:cubicBezTo>
                  <a:cubicBezTo>
                    <a:pt x="1490" y="746"/>
                    <a:pt x="1484" y="755"/>
                    <a:pt x="1490" y="759"/>
                  </a:cubicBezTo>
                  <a:close/>
                  <a:moveTo>
                    <a:pt x="1559" y="743"/>
                  </a:moveTo>
                  <a:cubicBezTo>
                    <a:pt x="1551" y="740"/>
                    <a:pt x="1551" y="749"/>
                    <a:pt x="1554" y="752"/>
                  </a:cubicBezTo>
                  <a:cubicBezTo>
                    <a:pt x="1556" y="752"/>
                    <a:pt x="1557" y="752"/>
                    <a:pt x="1559" y="752"/>
                  </a:cubicBezTo>
                  <a:cubicBezTo>
                    <a:pt x="1561" y="749"/>
                    <a:pt x="1560" y="747"/>
                    <a:pt x="1559" y="743"/>
                  </a:cubicBezTo>
                  <a:close/>
                  <a:moveTo>
                    <a:pt x="1676" y="743"/>
                  </a:moveTo>
                  <a:cubicBezTo>
                    <a:pt x="1676" y="746"/>
                    <a:pt x="1675" y="749"/>
                    <a:pt x="1678" y="749"/>
                  </a:cubicBezTo>
                  <a:cubicBezTo>
                    <a:pt x="1677" y="747"/>
                    <a:pt x="1679" y="743"/>
                    <a:pt x="1676" y="743"/>
                  </a:cubicBezTo>
                  <a:close/>
                  <a:moveTo>
                    <a:pt x="1012" y="752"/>
                  </a:moveTo>
                  <a:cubicBezTo>
                    <a:pt x="1012" y="761"/>
                    <a:pt x="1021" y="761"/>
                    <a:pt x="1029" y="763"/>
                  </a:cubicBezTo>
                  <a:cubicBezTo>
                    <a:pt x="1027" y="755"/>
                    <a:pt x="1019" y="754"/>
                    <a:pt x="1012" y="752"/>
                  </a:cubicBezTo>
                  <a:close/>
                  <a:moveTo>
                    <a:pt x="1031" y="767"/>
                  </a:moveTo>
                  <a:cubicBezTo>
                    <a:pt x="1025" y="778"/>
                    <a:pt x="1040" y="782"/>
                    <a:pt x="1046" y="776"/>
                  </a:cubicBezTo>
                  <a:cubicBezTo>
                    <a:pt x="1045" y="769"/>
                    <a:pt x="1039" y="767"/>
                    <a:pt x="1031" y="767"/>
                  </a:cubicBezTo>
                  <a:close/>
                  <a:moveTo>
                    <a:pt x="1581" y="1055"/>
                  </a:moveTo>
                  <a:cubicBezTo>
                    <a:pt x="1581" y="1036"/>
                    <a:pt x="1576" y="1014"/>
                    <a:pt x="1569" y="999"/>
                  </a:cubicBezTo>
                  <a:cubicBezTo>
                    <a:pt x="1556" y="993"/>
                    <a:pt x="1559" y="974"/>
                    <a:pt x="1555" y="960"/>
                  </a:cubicBezTo>
                  <a:cubicBezTo>
                    <a:pt x="1564" y="957"/>
                    <a:pt x="1561" y="938"/>
                    <a:pt x="1557" y="932"/>
                  </a:cubicBezTo>
                  <a:cubicBezTo>
                    <a:pt x="1555" y="935"/>
                    <a:pt x="1552" y="938"/>
                    <a:pt x="1550" y="941"/>
                  </a:cubicBezTo>
                  <a:cubicBezTo>
                    <a:pt x="1548" y="936"/>
                    <a:pt x="1554" y="933"/>
                    <a:pt x="1555" y="928"/>
                  </a:cubicBezTo>
                  <a:cubicBezTo>
                    <a:pt x="1552" y="925"/>
                    <a:pt x="1547" y="924"/>
                    <a:pt x="1546" y="919"/>
                  </a:cubicBezTo>
                  <a:cubicBezTo>
                    <a:pt x="1551" y="919"/>
                    <a:pt x="1548" y="912"/>
                    <a:pt x="1550" y="910"/>
                  </a:cubicBezTo>
                  <a:cubicBezTo>
                    <a:pt x="1549" y="908"/>
                    <a:pt x="1546" y="909"/>
                    <a:pt x="1546" y="908"/>
                  </a:cubicBezTo>
                  <a:cubicBezTo>
                    <a:pt x="1548" y="903"/>
                    <a:pt x="1547" y="896"/>
                    <a:pt x="1542" y="895"/>
                  </a:cubicBezTo>
                  <a:cubicBezTo>
                    <a:pt x="1544" y="888"/>
                    <a:pt x="1540" y="879"/>
                    <a:pt x="1537" y="874"/>
                  </a:cubicBezTo>
                  <a:cubicBezTo>
                    <a:pt x="1532" y="875"/>
                    <a:pt x="1535" y="884"/>
                    <a:pt x="1527" y="882"/>
                  </a:cubicBezTo>
                  <a:cubicBezTo>
                    <a:pt x="1524" y="885"/>
                    <a:pt x="1525" y="892"/>
                    <a:pt x="1523" y="896"/>
                  </a:cubicBezTo>
                  <a:cubicBezTo>
                    <a:pt x="1524" y="891"/>
                    <a:pt x="1522" y="889"/>
                    <a:pt x="1522" y="885"/>
                  </a:cubicBezTo>
                  <a:cubicBezTo>
                    <a:pt x="1517" y="887"/>
                    <a:pt x="1514" y="882"/>
                    <a:pt x="1512" y="879"/>
                  </a:cubicBezTo>
                  <a:cubicBezTo>
                    <a:pt x="1514" y="878"/>
                    <a:pt x="1517" y="878"/>
                    <a:pt x="1518" y="877"/>
                  </a:cubicBezTo>
                  <a:cubicBezTo>
                    <a:pt x="1521" y="869"/>
                    <a:pt x="1518" y="865"/>
                    <a:pt x="1515" y="860"/>
                  </a:cubicBezTo>
                  <a:cubicBezTo>
                    <a:pt x="1523" y="842"/>
                    <a:pt x="1502" y="838"/>
                    <a:pt x="1497" y="827"/>
                  </a:cubicBezTo>
                  <a:cubicBezTo>
                    <a:pt x="1500" y="828"/>
                    <a:pt x="1502" y="830"/>
                    <a:pt x="1507" y="829"/>
                  </a:cubicBezTo>
                  <a:cubicBezTo>
                    <a:pt x="1507" y="826"/>
                    <a:pt x="1507" y="824"/>
                    <a:pt x="1506" y="821"/>
                  </a:cubicBezTo>
                  <a:cubicBezTo>
                    <a:pt x="1502" y="822"/>
                    <a:pt x="1501" y="820"/>
                    <a:pt x="1498" y="819"/>
                  </a:cubicBezTo>
                  <a:cubicBezTo>
                    <a:pt x="1496" y="819"/>
                    <a:pt x="1497" y="823"/>
                    <a:pt x="1494" y="822"/>
                  </a:cubicBezTo>
                  <a:cubicBezTo>
                    <a:pt x="1484" y="819"/>
                    <a:pt x="1477" y="823"/>
                    <a:pt x="1469" y="817"/>
                  </a:cubicBezTo>
                  <a:cubicBezTo>
                    <a:pt x="1465" y="814"/>
                    <a:pt x="1464" y="808"/>
                    <a:pt x="1458" y="814"/>
                  </a:cubicBezTo>
                  <a:cubicBezTo>
                    <a:pt x="1457" y="820"/>
                    <a:pt x="1461" y="821"/>
                    <a:pt x="1460" y="828"/>
                  </a:cubicBezTo>
                  <a:cubicBezTo>
                    <a:pt x="1461" y="830"/>
                    <a:pt x="1466" y="829"/>
                    <a:pt x="1466" y="833"/>
                  </a:cubicBezTo>
                  <a:cubicBezTo>
                    <a:pt x="1462" y="840"/>
                    <a:pt x="1468" y="844"/>
                    <a:pt x="1466" y="854"/>
                  </a:cubicBezTo>
                  <a:cubicBezTo>
                    <a:pt x="1456" y="857"/>
                    <a:pt x="1451" y="864"/>
                    <a:pt x="1436" y="862"/>
                  </a:cubicBezTo>
                  <a:cubicBezTo>
                    <a:pt x="1433" y="864"/>
                    <a:pt x="1431" y="868"/>
                    <a:pt x="1426" y="869"/>
                  </a:cubicBezTo>
                  <a:cubicBezTo>
                    <a:pt x="1418" y="865"/>
                    <a:pt x="1419" y="861"/>
                    <a:pt x="1418" y="851"/>
                  </a:cubicBezTo>
                  <a:cubicBezTo>
                    <a:pt x="1415" y="830"/>
                    <a:pt x="1420" y="808"/>
                    <a:pt x="1416" y="790"/>
                  </a:cubicBezTo>
                  <a:cubicBezTo>
                    <a:pt x="1416" y="787"/>
                    <a:pt x="1418" y="786"/>
                    <a:pt x="1419" y="783"/>
                  </a:cubicBezTo>
                  <a:cubicBezTo>
                    <a:pt x="1416" y="778"/>
                    <a:pt x="1412" y="769"/>
                    <a:pt x="1405" y="776"/>
                  </a:cubicBezTo>
                  <a:cubicBezTo>
                    <a:pt x="1404" y="786"/>
                    <a:pt x="1396" y="797"/>
                    <a:pt x="1394" y="809"/>
                  </a:cubicBezTo>
                  <a:cubicBezTo>
                    <a:pt x="1391" y="804"/>
                    <a:pt x="1388" y="808"/>
                    <a:pt x="1382" y="808"/>
                  </a:cubicBezTo>
                  <a:cubicBezTo>
                    <a:pt x="1377" y="812"/>
                    <a:pt x="1380" y="819"/>
                    <a:pt x="1378" y="826"/>
                  </a:cubicBezTo>
                  <a:cubicBezTo>
                    <a:pt x="1377" y="832"/>
                    <a:pt x="1370" y="835"/>
                    <a:pt x="1369" y="840"/>
                  </a:cubicBezTo>
                  <a:cubicBezTo>
                    <a:pt x="1366" y="851"/>
                    <a:pt x="1369" y="858"/>
                    <a:pt x="1360" y="862"/>
                  </a:cubicBezTo>
                  <a:cubicBezTo>
                    <a:pt x="1353" y="864"/>
                    <a:pt x="1349" y="860"/>
                    <a:pt x="1342" y="866"/>
                  </a:cubicBezTo>
                  <a:cubicBezTo>
                    <a:pt x="1342" y="871"/>
                    <a:pt x="1340" y="871"/>
                    <a:pt x="1342" y="874"/>
                  </a:cubicBezTo>
                  <a:cubicBezTo>
                    <a:pt x="1340" y="876"/>
                    <a:pt x="1337" y="876"/>
                    <a:pt x="1335" y="877"/>
                  </a:cubicBezTo>
                  <a:cubicBezTo>
                    <a:pt x="1334" y="880"/>
                    <a:pt x="1334" y="884"/>
                    <a:pt x="1334" y="887"/>
                  </a:cubicBezTo>
                  <a:cubicBezTo>
                    <a:pt x="1331" y="881"/>
                    <a:pt x="1326" y="888"/>
                    <a:pt x="1322" y="888"/>
                  </a:cubicBezTo>
                  <a:cubicBezTo>
                    <a:pt x="1321" y="893"/>
                    <a:pt x="1324" y="894"/>
                    <a:pt x="1325" y="896"/>
                  </a:cubicBezTo>
                  <a:cubicBezTo>
                    <a:pt x="1319" y="898"/>
                    <a:pt x="1319" y="906"/>
                    <a:pt x="1311" y="907"/>
                  </a:cubicBezTo>
                  <a:cubicBezTo>
                    <a:pt x="1310" y="909"/>
                    <a:pt x="1309" y="912"/>
                    <a:pt x="1308" y="915"/>
                  </a:cubicBezTo>
                  <a:cubicBezTo>
                    <a:pt x="1305" y="915"/>
                    <a:pt x="1304" y="917"/>
                    <a:pt x="1302" y="917"/>
                  </a:cubicBezTo>
                  <a:cubicBezTo>
                    <a:pt x="1297" y="923"/>
                    <a:pt x="1300" y="933"/>
                    <a:pt x="1299" y="942"/>
                  </a:cubicBezTo>
                  <a:cubicBezTo>
                    <a:pt x="1298" y="946"/>
                    <a:pt x="1294" y="949"/>
                    <a:pt x="1294" y="953"/>
                  </a:cubicBezTo>
                  <a:cubicBezTo>
                    <a:pt x="1293" y="960"/>
                    <a:pt x="1297" y="971"/>
                    <a:pt x="1298" y="983"/>
                  </a:cubicBezTo>
                  <a:cubicBezTo>
                    <a:pt x="1298" y="992"/>
                    <a:pt x="1297" y="1002"/>
                    <a:pt x="1300" y="1008"/>
                  </a:cubicBezTo>
                  <a:cubicBezTo>
                    <a:pt x="1301" y="1011"/>
                    <a:pt x="1304" y="1012"/>
                    <a:pt x="1305" y="1014"/>
                  </a:cubicBezTo>
                  <a:cubicBezTo>
                    <a:pt x="1302" y="1024"/>
                    <a:pt x="1309" y="1029"/>
                    <a:pt x="1309" y="1038"/>
                  </a:cubicBezTo>
                  <a:cubicBezTo>
                    <a:pt x="1309" y="1039"/>
                    <a:pt x="1307" y="1042"/>
                    <a:pt x="1307" y="1043"/>
                  </a:cubicBezTo>
                  <a:cubicBezTo>
                    <a:pt x="1306" y="1051"/>
                    <a:pt x="1310" y="1059"/>
                    <a:pt x="1310" y="1066"/>
                  </a:cubicBezTo>
                  <a:cubicBezTo>
                    <a:pt x="1310" y="1071"/>
                    <a:pt x="1306" y="1075"/>
                    <a:pt x="1307" y="1080"/>
                  </a:cubicBezTo>
                  <a:cubicBezTo>
                    <a:pt x="1308" y="1085"/>
                    <a:pt x="1315" y="1089"/>
                    <a:pt x="1320" y="1089"/>
                  </a:cubicBezTo>
                  <a:cubicBezTo>
                    <a:pt x="1319" y="1099"/>
                    <a:pt x="1324" y="1104"/>
                    <a:pt x="1325" y="1112"/>
                  </a:cubicBezTo>
                  <a:cubicBezTo>
                    <a:pt x="1333" y="1111"/>
                    <a:pt x="1334" y="1105"/>
                    <a:pt x="1340" y="1103"/>
                  </a:cubicBezTo>
                  <a:cubicBezTo>
                    <a:pt x="1339" y="1107"/>
                    <a:pt x="1340" y="1114"/>
                    <a:pt x="1344" y="1119"/>
                  </a:cubicBezTo>
                  <a:cubicBezTo>
                    <a:pt x="1350" y="1118"/>
                    <a:pt x="1354" y="1117"/>
                    <a:pt x="1357" y="1122"/>
                  </a:cubicBezTo>
                  <a:cubicBezTo>
                    <a:pt x="1362" y="1119"/>
                    <a:pt x="1370" y="1120"/>
                    <a:pt x="1374" y="1116"/>
                  </a:cubicBezTo>
                  <a:cubicBezTo>
                    <a:pt x="1376" y="1113"/>
                    <a:pt x="1374" y="1110"/>
                    <a:pt x="1374" y="1105"/>
                  </a:cubicBezTo>
                  <a:cubicBezTo>
                    <a:pt x="1377" y="1102"/>
                    <a:pt x="1382" y="1100"/>
                    <a:pt x="1383" y="1095"/>
                  </a:cubicBezTo>
                  <a:cubicBezTo>
                    <a:pt x="1385" y="1095"/>
                    <a:pt x="1387" y="1096"/>
                    <a:pt x="1390" y="1096"/>
                  </a:cubicBezTo>
                  <a:cubicBezTo>
                    <a:pt x="1392" y="1092"/>
                    <a:pt x="1388" y="1082"/>
                    <a:pt x="1396" y="1083"/>
                  </a:cubicBezTo>
                  <a:cubicBezTo>
                    <a:pt x="1393" y="1089"/>
                    <a:pt x="1393" y="1098"/>
                    <a:pt x="1400" y="1098"/>
                  </a:cubicBezTo>
                  <a:cubicBezTo>
                    <a:pt x="1398" y="1083"/>
                    <a:pt x="1403" y="1071"/>
                    <a:pt x="1400" y="1061"/>
                  </a:cubicBezTo>
                  <a:cubicBezTo>
                    <a:pt x="1409" y="1068"/>
                    <a:pt x="1402" y="1082"/>
                    <a:pt x="1408" y="1092"/>
                  </a:cubicBezTo>
                  <a:cubicBezTo>
                    <a:pt x="1407" y="1095"/>
                    <a:pt x="1403" y="1097"/>
                    <a:pt x="1405" y="1101"/>
                  </a:cubicBezTo>
                  <a:cubicBezTo>
                    <a:pt x="1410" y="1101"/>
                    <a:pt x="1411" y="1101"/>
                    <a:pt x="1414" y="1099"/>
                  </a:cubicBezTo>
                  <a:cubicBezTo>
                    <a:pt x="1409" y="1091"/>
                    <a:pt x="1420" y="1086"/>
                    <a:pt x="1425" y="1085"/>
                  </a:cubicBezTo>
                  <a:cubicBezTo>
                    <a:pt x="1426" y="1082"/>
                    <a:pt x="1425" y="1079"/>
                    <a:pt x="1427" y="1076"/>
                  </a:cubicBezTo>
                  <a:cubicBezTo>
                    <a:pt x="1435" y="1075"/>
                    <a:pt x="1440" y="1076"/>
                    <a:pt x="1447" y="1075"/>
                  </a:cubicBezTo>
                  <a:cubicBezTo>
                    <a:pt x="1456" y="1082"/>
                    <a:pt x="1462" y="1092"/>
                    <a:pt x="1465" y="1105"/>
                  </a:cubicBezTo>
                  <a:cubicBezTo>
                    <a:pt x="1473" y="1104"/>
                    <a:pt x="1471" y="1113"/>
                    <a:pt x="1473" y="1118"/>
                  </a:cubicBezTo>
                  <a:cubicBezTo>
                    <a:pt x="1475" y="1122"/>
                    <a:pt x="1479" y="1122"/>
                    <a:pt x="1479" y="1126"/>
                  </a:cubicBezTo>
                  <a:cubicBezTo>
                    <a:pt x="1480" y="1132"/>
                    <a:pt x="1473" y="1139"/>
                    <a:pt x="1475" y="1146"/>
                  </a:cubicBezTo>
                  <a:cubicBezTo>
                    <a:pt x="1481" y="1150"/>
                    <a:pt x="1484" y="1156"/>
                    <a:pt x="1486" y="1164"/>
                  </a:cubicBezTo>
                  <a:cubicBezTo>
                    <a:pt x="1486" y="1166"/>
                    <a:pt x="1491" y="1164"/>
                    <a:pt x="1491" y="1167"/>
                  </a:cubicBezTo>
                  <a:cubicBezTo>
                    <a:pt x="1490" y="1178"/>
                    <a:pt x="1489" y="1185"/>
                    <a:pt x="1492" y="1195"/>
                  </a:cubicBezTo>
                  <a:cubicBezTo>
                    <a:pt x="1495" y="1195"/>
                    <a:pt x="1499" y="1197"/>
                    <a:pt x="1506" y="1198"/>
                  </a:cubicBezTo>
                  <a:cubicBezTo>
                    <a:pt x="1510" y="1193"/>
                    <a:pt x="1509" y="1192"/>
                    <a:pt x="1508" y="1185"/>
                  </a:cubicBezTo>
                  <a:cubicBezTo>
                    <a:pt x="1514" y="1178"/>
                    <a:pt x="1514" y="1168"/>
                    <a:pt x="1520" y="1161"/>
                  </a:cubicBezTo>
                  <a:cubicBezTo>
                    <a:pt x="1523" y="1159"/>
                    <a:pt x="1527" y="1158"/>
                    <a:pt x="1530" y="1155"/>
                  </a:cubicBezTo>
                  <a:cubicBezTo>
                    <a:pt x="1531" y="1154"/>
                    <a:pt x="1530" y="1152"/>
                    <a:pt x="1531" y="1150"/>
                  </a:cubicBezTo>
                  <a:cubicBezTo>
                    <a:pt x="1532" y="1148"/>
                    <a:pt x="1536" y="1145"/>
                    <a:pt x="1539" y="1142"/>
                  </a:cubicBezTo>
                  <a:cubicBezTo>
                    <a:pt x="1544" y="1134"/>
                    <a:pt x="1542" y="1131"/>
                    <a:pt x="1550" y="1129"/>
                  </a:cubicBezTo>
                  <a:cubicBezTo>
                    <a:pt x="1552" y="1117"/>
                    <a:pt x="1566" y="1116"/>
                    <a:pt x="1565" y="1102"/>
                  </a:cubicBezTo>
                  <a:cubicBezTo>
                    <a:pt x="1563" y="1101"/>
                    <a:pt x="1561" y="1105"/>
                    <a:pt x="1561" y="1103"/>
                  </a:cubicBezTo>
                  <a:cubicBezTo>
                    <a:pt x="1566" y="1095"/>
                    <a:pt x="1575" y="1091"/>
                    <a:pt x="1574" y="1078"/>
                  </a:cubicBezTo>
                  <a:cubicBezTo>
                    <a:pt x="1581" y="1073"/>
                    <a:pt x="1583" y="1059"/>
                    <a:pt x="1583" y="1051"/>
                  </a:cubicBezTo>
                  <a:cubicBezTo>
                    <a:pt x="1581" y="1051"/>
                    <a:pt x="1583" y="1054"/>
                    <a:pt x="1581" y="1055"/>
                  </a:cubicBezTo>
                  <a:close/>
                  <a:moveTo>
                    <a:pt x="1508" y="774"/>
                  </a:moveTo>
                  <a:cubicBezTo>
                    <a:pt x="1505" y="780"/>
                    <a:pt x="1512" y="784"/>
                    <a:pt x="1516" y="787"/>
                  </a:cubicBezTo>
                  <a:cubicBezTo>
                    <a:pt x="1516" y="780"/>
                    <a:pt x="1513" y="776"/>
                    <a:pt x="1508" y="774"/>
                  </a:cubicBezTo>
                  <a:close/>
                  <a:moveTo>
                    <a:pt x="1706" y="787"/>
                  </a:moveTo>
                  <a:cubicBezTo>
                    <a:pt x="1705" y="795"/>
                    <a:pt x="1703" y="802"/>
                    <a:pt x="1700" y="808"/>
                  </a:cubicBezTo>
                  <a:cubicBezTo>
                    <a:pt x="1697" y="806"/>
                    <a:pt x="1698" y="806"/>
                    <a:pt x="1696" y="803"/>
                  </a:cubicBezTo>
                  <a:cubicBezTo>
                    <a:pt x="1697" y="809"/>
                    <a:pt x="1694" y="820"/>
                    <a:pt x="1690" y="816"/>
                  </a:cubicBezTo>
                  <a:cubicBezTo>
                    <a:pt x="1691" y="824"/>
                    <a:pt x="1689" y="828"/>
                    <a:pt x="1689" y="835"/>
                  </a:cubicBezTo>
                  <a:cubicBezTo>
                    <a:pt x="1687" y="834"/>
                    <a:pt x="1687" y="832"/>
                    <a:pt x="1685" y="832"/>
                  </a:cubicBezTo>
                  <a:cubicBezTo>
                    <a:pt x="1684" y="835"/>
                    <a:pt x="1685" y="839"/>
                    <a:pt x="1683" y="840"/>
                  </a:cubicBezTo>
                  <a:cubicBezTo>
                    <a:pt x="1681" y="837"/>
                    <a:pt x="1683" y="829"/>
                    <a:pt x="1680" y="827"/>
                  </a:cubicBezTo>
                  <a:cubicBezTo>
                    <a:pt x="1677" y="832"/>
                    <a:pt x="1673" y="839"/>
                    <a:pt x="1675" y="845"/>
                  </a:cubicBezTo>
                  <a:cubicBezTo>
                    <a:pt x="1677" y="846"/>
                    <a:pt x="1678" y="842"/>
                    <a:pt x="1679" y="845"/>
                  </a:cubicBezTo>
                  <a:cubicBezTo>
                    <a:pt x="1674" y="855"/>
                    <a:pt x="1676" y="872"/>
                    <a:pt x="1671" y="885"/>
                  </a:cubicBezTo>
                  <a:cubicBezTo>
                    <a:pt x="1670" y="880"/>
                    <a:pt x="1664" y="879"/>
                    <a:pt x="1661" y="875"/>
                  </a:cubicBezTo>
                  <a:cubicBezTo>
                    <a:pt x="1660" y="877"/>
                    <a:pt x="1659" y="879"/>
                    <a:pt x="1657" y="880"/>
                  </a:cubicBezTo>
                  <a:cubicBezTo>
                    <a:pt x="1655" y="876"/>
                    <a:pt x="1652" y="874"/>
                    <a:pt x="1649" y="872"/>
                  </a:cubicBezTo>
                  <a:cubicBezTo>
                    <a:pt x="1649" y="869"/>
                    <a:pt x="1650" y="865"/>
                    <a:pt x="1648" y="863"/>
                  </a:cubicBezTo>
                  <a:cubicBezTo>
                    <a:pt x="1643" y="867"/>
                    <a:pt x="1642" y="863"/>
                    <a:pt x="1637" y="862"/>
                  </a:cubicBezTo>
                  <a:cubicBezTo>
                    <a:pt x="1635" y="865"/>
                    <a:pt x="1638" y="874"/>
                    <a:pt x="1633" y="874"/>
                  </a:cubicBezTo>
                  <a:cubicBezTo>
                    <a:pt x="1633" y="870"/>
                    <a:pt x="1633" y="871"/>
                    <a:pt x="1633" y="866"/>
                  </a:cubicBezTo>
                  <a:cubicBezTo>
                    <a:pt x="1629" y="865"/>
                    <a:pt x="1628" y="864"/>
                    <a:pt x="1625" y="867"/>
                  </a:cubicBezTo>
                  <a:cubicBezTo>
                    <a:pt x="1625" y="864"/>
                    <a:pt x="1623" y="863"/>
                    <a:pt x="1621" y="862"/>
                  </a:cubicBezTo>
                  <a:cubicBezTo>
                    <a:pt x="1620" y="864"/>
                    <a:pt x="1619" y="871"/>
                    <a:pt x="1621" y="873"/>
                  </a:cubicBezTo>
                  <a:cubicBezTo>
                    <a:pt x="1624" y="874"/>
                    <a:pt x="1623" y="871"/>
                    <a:pt x="1625" y="870"/>
                  </a:cubicBezTo>
                  <a:cubicBezTo>
                    <a:pt x="1627" y="874"/>
                    <a:pt x="1623" y="876"/>
                    <a:pt x="1623" y="880"/>
                  </a:cubicBezTo>
                  <a:cubicBezTo>
                    <a:pt x="1623" y="882"/>
                    <a:pt x="1626" y="882"/>
                    <a:pt x="1626" y="885"/>
                  </a:cubicBezTo>
                  <a:cubicBezTo>
                    <a:pt x="1629" y="884"/>
                    <a:pt x="1630" y="882"/>
                    <a:pt x="1634" y="882"/>
                  </a:cubicBezTo>
                  <a:cubicBezTo>
                    <a:pt x="1637" y="885"/>
                    <a:pt x="1639" y="889"/>
                    <a:pt x="1644" y="890"/>
                  </a:cubicBezTo>
                  <a:cubicBezTo>
                    <a:pt x="1648" y="891"/>
                    <a:pt x="1647" y="887"/>
                    <a:pt x="1650" y="887"/>
                  </a:cubicBezTo>
                  <a:cubicBezTo>
                    <a:pt x="1653" y="893"/>
                    <a:pt x="1658" y="898"/>
                    <a:pt x="1664" y="897"/>
                  </a:cubicBezTo>
                  <a:cubicBezTo>
                    <a:pt x="1665" y="899"/>
                    <a:pt x="1665" y="903"/>
                    <a:pt x="1667" y="904"/>
                  </a:cubicBezTo>
                  <a:cubicBezTo>
                    <a:pt x="1667" y="901"/>
                    <a:pt x="1668" y="899"/>
                    <a:pt x="1669" y="898"/>
                  </a:cubicBezTo>
                  <a:cubicBezTo>
                    <a:pt x="1669" y="900"/>
                    <a:pt x="1670" y="901"/>
                    <a:pt x="1671" y="902"/>
                  </a:cubicBezTo>
                  <a:cubicBezTo>
                    <a:pt x="1672" y="899"/>
                    <a:pt x="1669" y="888"/>
                    <a:pt x="1673" y="886"/>
                  </a:cubicBezTo>
                  <a:cubicBezTo>
                    <a:pt x="1673" y="890"/>
                    <a:pt x="1676" y="891"/>
                    <a:pt x="1677" y="894"/>
                  </a:cubicBezTo>
                  <a:cubicBezTo>
                    <a:pt x="1678" y="889"/>
                    <a:pt x="1683" y="887"/>
                    <a:pt x="1686" y="884"/>
                  </a:cubicBezTo>
                  <a:cubicBezTo>
                    <a:pt x="1692" y="874"/>
                    <a:pt x="1693" y="862"/>
                    <a:pt x="1697" y="850"/>
                  </a:cubicBezTo>
                  <a:cubicBezTo>
                    <a:pt x="1703" y="831"/>
                    <a:pt x="1713" y="807"/>
                    <a:pt x="1706" y="787"/>
                  </a:cubicBezTo>
                  <a:close/>
                  <a:moveTo>
                    <a:pt x="1682" y="843"/>
                  </a:moveTo>
                  <a:cubicBezTo>
                    <a:pt x="1680" y="843"/>
                    <a:pt x="1678" y="840"/>
                    <a:pt x="1680" y="839"/>
                  </a:cubicBezTo>
                  <a:cubicBezTo>
                    <a:pt x="1682" y="839"/>
                    <a:pt x="1682" y="841"/>
                    <a:pt x="1682" y="843"/>
                  </a:cubicBezTo>
                  <a:close/>
                  <a:moveTo>
                    <a:pt x="1550" y="804"/>
                  </a:moveTo>
                  <a:cubicBezTo>
                    <a:pt x="1553" y="805"/>
                    <a:pt x="1554" y="808"/>
                    <a:pt x="1557" y="810"/>
                  </a:cubicBezTo>
                  <a:cubicBezTo>
                    <a:pt x="1557" y="807"/>
                    <a:pt x="1557" y="804"/>
                    <a:pt x="1556" y="803"/>
                  </a:cubicBezTo>
                  <a:cubicBezTo>
                    <a:pt x="1554" y="804"/>
                    <a:pt x="1550" y="802"/>
                    <a:pt x="1550" y="804"/>
                  </a:cubicBezTo>
                  <a:close/>
                  <a:moveTo>
                    <a:pt x="1565" y="849"/>
                  </a:moveTo>
                  <a:cubicBezTo>
                    <a:pt x="1570" y="830"/>
                    <a:pt x="1554" y="815"/>
                    <a:pt x="1543" y="805"/>
                  </a:cubicBezTo>
                  <a:cubicBezTo>
                    <a:pt x="1542" y="811"/>
                    <a:pt x="1547" y="818"/>
                    <a:pt x="1548" y="824"/>
                  </a:cubicBezTo>
                  <a:cubicBezTo>
                    <a:pt x="1560" y="827"/>
                    <a:pt x="1556" y="844"/>
                    <a:pt x="1565" y="849"/>
                  </a:cubicBezTo>
                  <a:close/>
                  <a:moveTo>
                    <a:pt x="1596" y="815"/>
                  </a:moveTo>
                  <a:cubicBezTo>
                    <a:pt x="1596" y="812"/>
                    <a:pt x="1597" y="807"/>
                    <a:pt x="1594" y="807"/>
                  </a:cubicBezTo>
                  <a:cubicBezTo>
                    <a:pt x="1595" y="809"/>
                    <a:pt x="1592" y="815"/>
                    <a:pt x="1596" y="815"/>
                  </a:cubicBezTo>
                  <a:close/>
                  <a:moveTo>
                    <a:pt x="1686" y="817"/>
                  </a:moveTo>
                  <a:cubicBezTo>
                    <a:pt x="1687" y="815"/>
                    <a:pt x="1689" y="811"/>
                    <a:pt x="1685" y="811"/>
                  </a:cubicBezTo>
                  <a:cubicBezTo>
                    <a:pt x="1686" y="813"/>
                    <a:pt x="1684" y="817"/>
                    <a:pt x="1686" y="817"/>
                  </a:cubicBezTo>
                  <a:close/>
                  <a:moveTo>
                    <a:pt x="1584" y="835"/>
                  </a:moveTo>
                  <a:cubicBezTo>
                    <a:pt x="1582" y="832"/>
                    <a:pt x="1582" y="829"/>
                    <a:pt x="1577" y="830"/>
                  </a:cubicBezTo>
                  <a:cubicBezTo>
                    <a:pt x="1577" y="826"/>
                    <a:pt x="1575" y="823"/>
                    <a:pt x="1572" y="821"/>
                  </a:cubicBezTo>
                  <a:cubicBezTo>
                    <a:pt x="1571" y="837"/>
                    <a:pt x="1586" y="836"/>
                    <a:pt x="1589" y="848"/>
                  </a:cubicBezTo>
                  <a:cubicBezTo>
                    <a:pt x="1593" y="849"/>
                    <a:pt x="1592" y="849"/>
                    <a:pt x="1596" y="849"/>
                  </a:cubicBezTo>
                  <a:cubicBezTo>
                    <a:pt x="1593" y="844"/>
                    <a:pt x="1591" y="838"/>
                    <a:pt x="1588" y="833"/>
                  </a:cubicBezTo>
                  <a:cubicBezTo>
                    <a:pt x="1585" y="832"/>
                    <a:pt x="1586" y="834"/>
                    <a:pt x="1584" y="835"/>
                  </a:cubicBezTo>
                  <a:close/>
                  <a:moveTo>
                    <a:pt x="1190" y="823"/>
                  </a:moveTo>
                  <a:cubicBezTo>
                    <a:pt x="1178" y="826"/>
                    <a:pt x="1171" y="835"/>
                    <a:pt x="1162" y="841"/>
                  </a:cubicBezTo>
                  <a:cubicBezTo>
                    <a:pt x="1176" y="843"/>
                    <a:pt x="1186" y="834"/>
                    <a:pt x="1190" y="823"/>
                  </a:cubicBezTo>
                  <a:close/>
                  <a:moveTo>
                    <a:pt x="1513" y="836"/>
                  </a:moveTo>
                  <a:cubicBezTo>
                    <a:pt x="1515" y="833"/>
                    <a:pt x="1512" y="828"/>
                    <a:pt x="1510" y="827"/>
                  </a:cubicBezTo>
                  <a:cubicBezTo>
                    <a:pt x="1508" y="829"/>
                    <a:pt x="1509" y="835"/>
                    <a:pt x="1513" y="836"/>
                  </a:cubicBezTo>
                  <a:close/>
                  <a:moveTo>
                    <a:pt x="1669" y="831"/>
                  </a:moveTo>
                  <a:cubicBezTo>
                    <a:pt x="1667" y="834"/>
                    <a:pt x="1665" y="841"/>
                    <a:pt x="1671" y="841"/>
                  </a:cubicBezTo>
                  <a:cubicBezTo>
                    <a:pt x="1672" y="839"/>
                    <a:pt x="1674" y="830"/>
                    <a:pt x="1669" y="831"/>
                  </a:cubicBezTo>
                  <a:close/>
                  <a:moveTo>
                    <a:pt x="1704" y="836"/>
                  </a:moveTo>
                  <a:cubicBezTo>
                    <a:pt x="1705" y="840"/>
                    <a:pt x="1701" y="844"/>
                    <a:pt x="1704" y="847"/>
                  </a:cubicBezTo>
                  <a:cubicBezTo>
                    <a:pt x="1703" y="843"/>
                    <a:pt x="1708" y="837"/>
                    <a:pt x="1704" y="836"/>
                  </a:cubicBezTo>
                  <a:close/>
                  <a:moveTo>
                    <a:pt x="1607" y="846"/>
                  </a:moveTo>
                  <a:cubicBezTo>
                    <a:pt x="1604" y="845"/>
                    <a:pt x="1603" y="843"/>
                    <a:pt x="1600" y="842"/>
                  </a:cubicBezTo>
                  <a:cubicBezTo>
                    <a:pt x="1599" y="845"/>
                    <a:pt x="1598" y="851"/>
                    <a:pt x="1600" y="853"/>
                  </a:cubicBezTo>
                  <a:cubicBezTo>
                    <a:pt x="1604" y="853"/>
                    <a:pt x="1606" y="850"/>
                    <a:pt x="1607" y="846"/>
                  </a:cubicBezTo>
                  <a:close/>
                  <a:moveTo>
                    <a:pt x="1631" y="848"/>
                  </a:moveTo>
                  <a:cubicBezTo>
                    <a:pt x="1632" y="853"/>
                    <a:pt x="1632" y="858"/>
                    <a:pt x="1636" y="861"/>
                  </a:cubicBezTo>
                  <a:cubicBezTo>
                    <a:pt x="1638" y="856"/>
                    <a:pt x="1635" y="849"/>
                    <a:pt x="1631" y="848"/>
                  </a:cubicBezTo>
                  <a:close/>
                  <a:moveTo>
                    <a:pt x="1590" y="854"/>
                  </a:moveTo>
                  <a:cubicBezTo>
                    <a:pt x="1588" y="856"/>
                    <a:pt x="1585" y="858"/>
                    <a:pt x="1585" y="862"/>
                  </a:cubicBezTo>
                  <a:cubicBezTo>
                    <a:pt x="1586" y="863"/>
                    <a:pt x="1587" y="865"/>
                    <a:pt x="1589" y="865"/>
                  </a:cubicBezTo>
                  <a:cubicBezTo>
                    <a:pt x="1591" y="860"/>
                    <a:pt x="1592" y="864"/>
                    <a:pt x="1595" y="865"/>
                  </a:cubicBezTo>
                  <a:cubicBezTo>
                    <a:pt x="1597" y="865"/>
                    <a:pt x="1598" y="863"/>
                    <a:pt x="1598" y="861"/>
                  </a:cubicBezTo>
                  <a:cubicBezTo>
                    <a:pt x="1596" y="858"/>
                    <a:pt x="1593" y="856"/>
                    <a:pt x="1590" y="854"/>
                  </a:cubicBezTo>
                  <a:close/>
                  <a:moveTo>
                    <a:pt x="1604" y="854"/>
                  </a:moveTo>
                  <a:cubicBezTo>
                    <a:pt x="1600" y="860"/>
                    <a:pt x="1606" y="864"/>
                    <a:pt x="1609" y="867"/>
                  </a:cubicBezTo>
                  <a:cubicBezTo>
                    <a:pt x="1610" y="863"/>
                    <a:pt x="1612" y="867"/>
                    <a:pt x="1614" y="867"/>
                  </a:cubicBezTo>
                  <a:cubicBezTo>
                    <a:pt x="1614" y="863"/>
                    <a:pt x="1613" y="859"/>
                    <a:pt x="1612" y="856"/>
                  </a:cubicBezTo>
                  <a:cubicBezTo>
                    <a:pt x="1608" y="857"/>
                    <a:pt x="1608" y="855"/>
                    <a:pt x="1604" y="854"/>
                  </a:cubicBezTo>
                  <a:close/>
                  <a:moveTo>
                    <a:pt x="1616" y="858"/>
                  </a:moveTo>
                  <a:cubicBezTo>
                    <a:pt x="1615" y="860"/>
                    <a:pt x="1616" y="863"/>
                    <a:pt x="1619" y="863"/>
                  </a:cubicBezTo>
                  <a:cubicBezTo>
                    <a:pt x="1621" y="862"/>
                    <a:pt x="1620" y="857"/>
                    <a:pt x="1616" y="858"/>
                  </a:cubicBezTo>
                  <a:close/>
                  <a:moveTo>
                    <a:pt x="1693" y="877"/>
                  </a:moveTo>
                  <a:cubicBezTo>
                    <a:pt x="1694" y="880"/>
                    <a:pt x="1692" y="879"/>
                    <a:pt x="1692" y="882"/>
                  </a:cubicBezTo>
                  <a:cubicBezTo>
                    <a:pt x="1695" y="883"/>
                    <a:pt x="1697" y="876"/>
                    <a:pt x="1693" y="877"/>
                  </a:cubicBezTo>
                  <a:close/>
                  <a:moveTo>
                    <a:pt x="1121" y="1017"/>
                  </a:moveTo>
                  <a:cubicBezTo>
                    <a:pt x="1117" y="1003"/>
                    <a:pt x="1127" y="992"/>
                    <a:pt x="1132" y="979"/>
                  </a:cubicBezTo>
                  <a:cubicBezTo>
                    <a:pt x="1130" y="978"/>
                    <a:pt x="1130" y="977"/>
                    <a:pt x="1129" y="977"/>
                  </a:cubicBezTo>
                  <a:cubicBezTo>
                    <a:pt x="1125" y="984"/>
                    <a:pt x="1108" y="984"/>
                    <a:pt x="1116" y="998"/>
                  </a:cubicBezTo>
                  <a:cubicBezTo>
                    <a:pt x="1114" y="999"/>
                    <a:pt x="1113" y="1002"/>
                    <a:pt x="1111" y="1003"/>
                  </a:cubicBezTo>
                  <a:cubicBezTo>
                    <a:pt x="1111" y="999"/>
                    <a:pt x="1113" y="994"/>
                    <a:pt x="1108" y="995"/>
                  </a:cubicBezTo>
                  <a:cubicBezTo>
                    <a:pt x="1104" y="998"/>
                    <a:pt x="1111" y="1010"/>
                    <a:pt x="1105" y="1012"/>
                  </a:cubicBezTo>
                  <a:cubicBezTo>
                    <a:pt x="1099" y="1012"/>
                    <a:pt x="1095" y="1006"/>
                    <a:pt x="1089" y="1007"/>
                  </a:cubicBezTo>
                  <a:cubicBezTo>
                    <a:pt x="1089" y="1009"/>
                    <a:pt x="1089" y="1010"/>
                    <a:pt x="1088" y="1010"/>
                  </a:cubicBezTo>
                  <a:cubicBezTo>
                    <a:pt x="1089" y="1015"/>
                    <a:pt x="1096" y="1014"/>
                    <a:pt x="1094" y="1021"/>
                  </a:cubicBezTo>
                  <a:cubicBezTo>
                    <a:pt x="1101" y="1020"/>
                    <a:pt x="1097" y="1026"/>
                    <a:pt x="1099" y="1029"/>
                  </a:cubicBezTo>
                  <a:cubicBezTo>
                    <a:pt x="1103" y="1028"/>
                    <a:pt x="1107" y="1028"/>
                    <a:pt x="1108" y="1031"/>
                  </a:cubicBezTo>
                  <a:cubicBezTo>
                    <a:pt x="1109" y="1034"/>
                    <a:pt x="1107" y="1034"/>
                    <a:pt x="1108" y="1036"/>
                  </a:cubicBezTo>
                  <a:cubicBezTo>
                    <a:pt x="1109" y="1041"/>
                    <a:pt x="1115" y="1043"/>
                    <a:pt x="1119" y="1049"/>
                  </a:cubicBezTo>
                  <a:cubicBezTo>
                    <a:pt x="1122" y="1054"/>
                    <a:pt x="1123" y="1064"/>
                    <a:pt x="1132" y="1061"/>
                  </a:cubicBezTo>
                  <a:cubicBezTo>
                    <a:pt x="1134" y="1053"/>
                    <a:pt x="1126" y="1055"/>
                    <a:pt x="1126" y="1050"/>
                  </a:cubicBezTo>
                  <a:cubicBezTo>
                    <a:pt x="1126" y="1047"/>
                    <a:pt x="1126" y="1044"/>
                    <a:pt x="1129" y="1043"/>
                  </a:cubicBezTo>
                  <a:cubicBezTo>
                    <a:pt x="1135" y="1043"/>
                    <a:pt x="1135" y="1043"/>
                    <a:pt x="1135" y="1043"/>
                  </a:cubicBezTo>
                  <a:cubicBezTo>
                    <a:pt x="1137" y="1041"/>
                    <a:pt x="1138" y="1038"/>
                    <a:pt x="1138" y="1035"/>
                  </a:cubicBezTo>
                  <a:cubicBezTo>
                    <a:pt x="1132" y="1030"/>
                    <a:pt x="1127" y="1023"/>
                    <a:pt x="1121" y="1017"/>
                  </a:cubicBezTo>
                  <a:close/>
                  <a:moveTo>
                    <a:pt x="1194" y="1114"/>
                  </a:moveTo>
                  <a:cubicBezTo>
                    <a:pt x="1189" y="1106"/>
                    <a:pt x="1180" y="1101"/>
                    <a:pt x="1175" y="1094"/>
                  </a:cubicBezTo>
                  <a:cubicBezTo>
                    <a:pt x="1174" y="1092"/>
                    <a:pt x="1174" y="1090"/>
                    <a:pt x="1172" y="1087"/>
                  </a:cubicBezTo>
                  <a:cubicBezTo>
                    <a:pt x="1169" y="1083"/>
                    <a:pt x="1164" y="1082"/>
                    <a:pt x="1163" y="1079"/>
                  </a:cubicBezTo>
                  <a:cubicBezTo>
                    <a:pt x="1160" y="1069"/>
                    <a:pt x="1155" y="1062"/>
                    <a:pt x="1149" y="1055"/>
                  </a:cubicBezTo>
                  <a:cubicBezTo>
                    <a:pt x="1147" y="1057"/>
                    <a:pt x="1145" y="1058"/>
                    <a:pt x="1143" y="1060"/>
                  </a:cubicBezTo>
                  <a:cubicBezTo>
                    <a:pt x="1142" y="1059"/>
                    <a:pt x="1143" y="1057"/>
                    <a:pt x="1140" y="1057"/>
                  </a:cubicBezTo>
                  <a:cubicBezTo>
                    <a:pt x="1133" y="1073"/>
                    <a:pt x="1158" y="1081"/>
                    <a:pt x="1152" y="1096"/>
                  </a:cubicBezTo>
                  <a:cubicBezTo>
                    <a:pt x="1155" y="1097"/>
                    <a:pt x="1156" y="1097"/>
                    <a:pt x="1159" y="1097"/>
                  </a:cubicBezTo>
                  <a:cubicBezTo>
                    <a:pt x="1160" y="1103"/>
                    <a:pt x="1166" y="1106"/>
                    <a:pt x="1167" y="1111"/>
                  </a:cubicBezTo>
                  <a:cubicBezTo>
                    <a:pt x="1167" y="1112"/>
                    <a:pt x="1165" y="1113"/>
                    <a:pt x="1166" y="1114"/>
                  </a:cubicBezTo>
                  <a:cubicBezTo>
                    <a:pt x="1168" y="1117"/>
                    <a:pt x="1173" y="1119"/>
                    <a:pt x="1170" y="1125"/>
                  </a:cubicBezTo>
                  <a:cubicBezTo>
                    <a:pt x="1173" y="1127"/>
                    <a:pt x="1176" y="1130"/>
                    <a:pt x="1177" y="1135"/>
                  </a:cubicBezTo>
                  <a:cubicBezTo>
                    <a:pt x="1185" y="1138"/>
                    <a:pt x="1193" y="1135"/>
                    <a:pt x="1201" y="1139"/>
                  </a:cubicBezTo>
                  <a:cubicBezTo>
                    <a:pt x="1202" y="1136"/>
                    <a:pt x="1204" y="1135"/>
                    <a:pt x="1205" y="1133"/>
                  </a:cubicBezTo>
                  <a:cubicBezTo>
                    <a:pt x="1198" y="1129"/>
                    <a:pt x="1198" y="1121"/>
                    <a:pt x="1194" y="1114"/>
                  </a:cubicBezTo>
                  <a:close/>
                  <a:moveTo>
                    <a:pt x="1073" y="1080"/>
                  </a:moveTo>
                  <a:cubicBezTo>
                    <a:pt x="1077" y="1081"/>
                    <a:pt x="1078" y="1078"/>
                    <a:pt x="1079" y="1074"/>
                  </a:cubicBezTo>
                  <a:cubicBezTo>
                    <a:pt x="1077" y="1073"/>
                    <a:pt x="1076" y="1072"/>
                    <a:pt x="1074" y="1072"/>
                  </a:cubicBezTo>
                  <a:cubicBezTo>
                    <a:pt x="1073" y="1074"/>
                    <a:pt x="1071" y="1078"/>
                    <a:pt x="1073" y="1080"/>
                  </a:cubicBezTo>
                  <a:close/>
                  <a:moveTo>
                    <a:pt x="1399" y="1111"/>
                  </a:moveTo>
                  <a:cubicBezTo>
                    <a:pt x="1401" y="1111"/>
                    <a:pt x="1401" y="1110"/>
                    <a:pt x="1402" y="1110"/>
                  </a:cubicBezTo>
                  <a:cubicBezTo>
                    <a:pt x="1402" y="1109"/>
                    <a:pt x="1402" y="1107"/>
                    <a:pt x="1402" y="1105"/>
                  </a:cubicBezTo>
                  <a:cubicBezTo>
                    <a:pt x="1401" y="1103"/>
                    <a:pt x="1396" y="1104"/>
                    <a:pt x="1394" y="1103"/>
                  </a:cubicBezTo>
                  <a:cubicBezTo>
                    <a:pt x="1395" y="1106"/>
                    <a:pt x="1396" y="1110"/>
                    <a:pt x="1399" y="1111"/>
                  </a:cubicBezTo>
                  <a:close/>
                  <a:moveTo>
                    <a:pt x="1321" y="1124"/>
                  </a:moveTo>
                  <a:cubicBezTo>
                    <a:pt x="1324" y="1124"/>
                    <a:pt x="1324" y="1121"/>
                    <a:pt x="1324" y="1118"/>
                  </a:cubicBezTo>
                  <a:cubicBezTo>
                    <a:pt x="1321" y="1118"/>
                    <a:pt x="1319" y="1120"/>
                    <a:pt x="1319" y="1123"/>
                  </a:cubicBezTo>
                  <a:cubicBezTo>
                    <a:pt x="1319" y="1123"/>
                    <a:pt x="1321" y="1123"/>
                    <a:pt x="1321" y="1124"/>
                  </a:cubicBezTo>
                  <a:close/>
                  <a:moveTo>
                    <a:pt x="1318" y="1124"/>
                  </a:moveTo>
                  <a:cubicBezTo>
                    <a:pt x="1315" y="1123"/>
                    <a:pt x="1315" y="1125"/>
                    <a:pt x="1315" y="1127"/>
                  </a:cubicBezTo>
                  <a:cubicBezTo>
                    <a:pt x="1317" y="1128"/>
                    <a:pt x="1318" y="1126"/>
                    <a:pt x="1318" y="1124"/>
                  </a:cubicBezTo>
                  <a:close/>
                  <a:moveTo>
                    <a:pt x="1345" y="1125"/>
                  </a:moveTo>
                  <a:cubicBezTo>
                    <a:pt x="1345" y="1132"/>
                    <a:pt x="1345" y="1132"/>
                    <a:pt x="1345" y="1132"/>
                  </a:cubicBezTo>
                  <a:cubicBezTo>
                    <a:pt x="1349" y="1133"/>
                    <a:pt x="1349" y="1123"/>
                    <a:pt x="1345" y="1125"/>
                  </a:cubicBezTo>
                  <a:close/>
                  <a:moveTo>
                    <a:pt x="1341" y="1137"/>
                  </a:moveTo>
                  <a:cubicBezTo>
                    <a:pt x="1332" y="1139"/>
                    <a:pt x="1321" y="1137"/>
                    <a:pt x="1318" y="1129"/>
                  </a:cubicBezTo>
                  <a:cubicBezTo>
                    <a:pt x="1312" y="1142"/>
                    <a:pt x="1315" y="1151"/>
                    <a:pt x="1311" y="1163"/>
                  </a:cubicBezTo>
                  <a:cubicBezTo>
                    <a:pt x="1317" y="1161"/>
                    <a:pt x="1316" y="1168"/>
                    <a:pt x="1323" y="1170"/>
                  </a:cubicBezTo>
                  <a:cubicBezTo>
                    <a:pt x="1325" y="1164"/>
                    <a:pt x="1332" y="1162"/>
                    <a:pt x="1334" y="1155"/>
                  </a:cubicBezTo>
                  <a:cubicBezTo>
                    <a:pt x="1333" y="1154"/>
                    <a:pt x="1331" y="1155"/>
                    <a:pt x="1331" y="1152"/>
                  </a:cubicBezTo>
                  <a:cubicBezTo>
                    <a:pt x="1335" y="1148"/>
                    <a:pt x="1338" y="1143"/>
                    <a:pt x="1341" y="1137"/>
                  </a:cubicBezTo>
                  <a:close/>
                  <a:moveTo>
                    <a:pt x="1196" y="1143"/>
                  </a:moveTo>
                  <a:cubicBezTo>
                    <a:pt x="1192" y="1143"/>
                    <a:pt x="1192" y="1143"/>
                    <a:pt x="1192" y="1143"/>
                  </a:cubicBezTo>
                  <a:cubicBezTo>
                    <a:pt x="1191" y="1146"/>
                    <a:pt x="1191" y="1151"/>
                    <a:pt x="1195" y="1151"/>
                  </a:cubicBezTo>
                  <a:cubicBezTo>
                    <a:pt x="1194" y="1148"/>
                    <a:pt x="1197" y="1147"/>
                    <a:pt x="1196" y="1143"/>
                  </a:cubicBezTo>
                  <a:close/>
                  <a:moveTo>
                    <a:pt x="284" y="1289"/>
                  </a:moveTo>
                  <a:cubicBezTo>
                    <a:pt x="281" y="1281"/>
                    <a:pt x="276" y="1275"/>
                    <a:pt x="270" y="1271"/>
                  </a:cubicBezTo>
                  <a:cubicBezTo>
                    <a:pt x="272" y="1279"/>
                    <a:pt x="278" y="1284"/>
                    <a:pt x="284" y="1289"/>
                  </a:cubicBezTo>
                  <a:close/>
                  <a:moveTo>
                    <a:pt x="286" y="1293"/>
                  </a:moveTo>
                  <a:cubicBezTo>
                    <a:pt x="286" y="1295"/>
                    <a:pt x="287" y="1296"/>
                    <a:pt x="290" y="1296"/>
                  </a:cubicBezTo>
                  <a:cubicBezTo>
                    <a:pt x="290" y="1293"/>
                    <a:pt x="288" y="1293"/>
                    <a:pt x="286" y="1293"/>
                  </a:cubicBezTo>
                  <a:close/>
                  <a:moveTo>
                    <a:pt x="350" y="1358"/>
                  </a:moveTo>
                  <a:cubicBezTo>
                    <a:pt x="349" y="1355"/>
                    <a:pt x="347" y="1352"/>
                    <a:pt x="343" y="1351"/>
                  </a:cubicBezTo>
                  <a:cubicBezTo>
                    <a:pt x="344" y="1355"/>
                    <a:pt x="348" y="1356"/>
                    <a:pt x="350" y="1358"/>
                  </a:cubicBezTo>
                  <a:close/>
                  <a:moveTo>
                    <a:pt x="359" y="1369"/>
                  </a:moveTo>
                  <a:cubicBezTo>
                    <a:pt x="360" y="1371"/>
                    <a:pt x="361" y="1373"/>
                    <a:pt x="364" y="1374"/>
                  </a:cubicBezTo>
                  <a:cubicBezTo>
                    <a:pt x="363" y="1372"/>
                    <a:pt x="361" y="1367"/>
                    <a:pt x="359" y="1369"/>
                  </a:cubicBezTo>
                  <a:close/>
                  <a:moveTo>
                    <a:pt x="369" y="1383"/>
                  </a:moveTo>
                  <a:cubicBezTo>
                    <a:pt x="373" y="1382"/>
                    <a:pt x="369" y="1389"/>
                    <a:pt x="373" y="1388"/>
                  </a:cubicBezTo>
                  <a:cubicBezTo>
                    <a:pt x="374" y="1384"/>
                    <a:pt x="371" y="1380"/>
                    <a:pt x="369" y="1383"/>
                  </a:cubicBezTo>
                  <a:close/>
                  <a:moveTo>
                    <a:pt x="364" y="1432"/>
                  </a:moveTo>
                  <a:cubicBezTo>
                    <a:pt x="361" y="1431"/>
                    <a:pt x="359" y="1429"/>
                    <a:pt x="356" y="1428"/>
                  </a:cubicBezTo>
                  <a:cubicBezTo>
                    <a:pt x="358" y="1433"/>
                    <a:pt x="356" y="1436"/>
                    <a:pt x="360" y="1439"/>
                  </a:cubicBezTo>
                  <a:cubicBezTo>
                    <a:pt x="363" y="1440"/>
                    <a:pt x="365" y="1440"/>
                    <a:pt x="366" y="1438"/>
                  </a:cubicBezTo>
                  <a:cubicBezTo>
                    <a:pt x="363" y="1436"/>
                    <a:pt x="362" y="1435"/>
                    <a:pt x="364" y="1432"/>
                  </a:cubicBezTo>
                  <a:close/>
                  <a:moveTo>
                    <a:pt x="732" y="67"/>
                  </a:moveTo>
                  <a:cubicBezTo>
                    <a:pt x="718" y="64"/>
                    <a:pt x="703" y="59"/>
                    <a:pt x="689" y="58"/>
                  </a:cubicBezTo>
                  <a:cubicBezTo>
                    <a:pt x="682" y="54"/>
                    <a:pt x="675" y="54"/>
                    <a:pt x="668" y="48"/>
                  </a:cubicBezTo>
                  <a:cubicBezTo>
                    <a:pt x="680" y="51"/>
                    <a:pt x="684" y="46"/>
                    <a:pt x="696" y="47"/>
                  </a:cubicBezTo>
                  <a:cubicBezTo>
                    <a:pt x="697" y="42"/>
                    <a:pt x="691" y="44"/>
                    <a:pt x="691" y="41"/>
                  </a:cubicBezTo>
                  <a:cubicBezTo>
                    <a:pt x="694" y="41"/>
                    <a:pt x="697" y="42"/>
                    <a:pt x="701" y="42"/>
                  </a:cubicBezTo>
                  <a:cubicBezTo>
                    <a:pt x="702" y="40"/>
                    <a:pt x="703" y="39"/>
                    <a:pt x="704" y="37"/>
                  </a:cubicBezTo>
                  <a:cubicBezTo>
                    <a:pt x="702" y="34"/>
                    <a:pt x="698" y="39"/>
                    <a:pt x="697" y="36"/>
                  </a:cubicBezTo>
                  <a:cubicBezTo>
                    <a:pt x="700" y="35"/>
                    <a:pt x="702" y="35"/>
                    <a:pt x="703" y="32"/>
                  </a:cubicBezTo>
                  <a:cubicBezTo>
                    <a:pt x="693" y="28"/>
                    <a:pt x="680" y="24"/>
                    <a:pt x="665" y="25"/>
                  </a:cubicBezTo>
                  <a:cubicBezTo>
                    <a:pt x="664" y="22"/>
                    <a:pt x="665" y="22"/>
                    <a:pt x="661" y="21"/>
                  </a:cubicBezTo>
                  <a:cubicBezTo>
                    <a:pt x="670" y="20"/>
                    <a:pt x="687" y="24"/>
                    <a:pt x="692" y="14"/>
                  </a:cubicBezTo>
                  <a:cubicBezTo>
                    <a:pt x="678" y="11"/>
                    <a:pt x="670" y="15"/>
                    <a:pt x="657" y="14"/>
                  </a:cubicBezTo>
                  <a:cubicBezTo>
                    <a:pt x="662" y="10"/>
                    <a:pt x="670" y="9"/>
                    <a:pt x="675" y="5"/>
                  </a:cubicBezTo>
                  <a:cubicBezTo>
                    <a:pt x="669" y="3"/>
                    <a:pt x="658" y="6"/>
                    <a:pt x="655" y="0"/>
                  </a:cubicBezTo>
                  <a:cubicBezTo>
                    <a:pt x="626" y="0"/>
                    <a:pt x="595" y="8"/>
                    <a:pt x="569" y="17"/>
                  </a:cubicBezTo>
                  <a:cubicBezTo>
                    <a:pt x="555" y="11"/>
                    <a:pt x="540" y="23"/>
                    <a:pt x="526" y="24"/>
                  </a:cubicBezTo>
                  <a:cubicBezTo>
                    <a:pt x="527" y="24"/>
                    <a:pt x="527" y="23"/>
                    <a:pt x="525" y="23"/>
                  </a:cubicBezTo>
                  <a:cubicBezTo>
                    <a:pt x="524" y="25"/>
                    <a:pt x="522" y="24"/>
                    <a:pt x="524" y="26"/>
                  </a:cubicBezTo>
                  <a:cubicBezTo>
                    <a:pt x="515" y="28"/>
                    <a:pt x="507" y="32"/>
                    <a:pt x="499" y="35"/>
                  </a:cubicBezTo>
                  <a:cubicBezTo>
                    <a:pt x="460" y="51"/>
                    <a:pt x="419" y="76"/>
                    <a:pt x="386" y="98"/>
                  </a:cubicBezTo>
                  <a:cubicBezTo>
                    <a:pt x="324" y="140"/>
                    <a:pt x="261" y="193"/>
                    <a:pt x="212" y="249"/>
                  </a:cubicBezTo>
                  <a:cubicBezTo>
                    <a:pt x="191" y="272"/>
                    <a:pt x="179" y="300"/>
                    <a:pt x="165" y="324"/>
                  </a:cubicBezTo>
                  <a:cubicBezTo>
                    <a:pt x="168" y="328"/>
                    <a:pt x="160" y="331"/>
                    <a:pt x="163" y="334"/>
                  </a:cubicBezTo>
                  <a:cubicBezTo>
                    <a:pt x="165" y="330"/>
                    <a:pt x="166" y="337"/>
                    <a:pt x="164" y="337"/>
                  </a:cubicBezTo>
                  <a:cubicBezTo>
                    <a:pt x="166" y="338"/>
                    <a:pt x="167" y="335"/>
                    <a:pt x="168" y="337"/>
                  </a:cubicBezTo>
                  <a:cubicBezTo>
                    <a:pt x="166" y="341"/>
                    <a:pt x="165" y="346"/>
                    <a:pt x="170" y="347"/>
                  </a:cubicBezTo>
                  <a:cubicBezTo>
                    <a:pt x="168" y="379"/>
                    <a:pt x="140" y="395"/>
                    <a:pt x="144" y="426"/>
                  </a:cubicBezTo>
                  <a:cubicBezTo>
                    <a:pt x="152" y="412"/>
                    <a:pt x="160" y="398"/>
                    <a:pt x="167" y="384"/>
                  </a:cubicBezTo>
                  <a:cubicBezTo>
                    <a:pt x="167" y="372"/>
                    <a:pt x="176" y="369"/>
                    <a:pt x="181" y="360"/>
                  </a:cubicBezTo>
                  <a:cubicBezTo>
                    <a:pt x="183" y="361"/>
                    <a:pt x="182" y="364"/>
                    <a:pt x="185" y="363"/>
                  </a:cubicBezTo>
                  <a:cubicBezTo>
                    <a:pt x="191" y="353"/>
                    <a:pt x="203" y="345"/>
                    <a:pt x="215" y="346"/>
                  </a:cubicBezTo>
                  <a:cubicBezTo>
                    <a:pt x="213" y="351"/>
                    <a:pt x="211" y="355"/>
                    <a:pt x="208" y="359"/>
                  </a:cubicBezTo>
                  <a:cubicBezTo>
                    <a:pt x="211" y="358"/>
                    <a:pt x="213" y="355"/>
                    <a:pt x="216" y="354"/>
                  </a:cubicBezTo>
                  <a:cubicBezTo>
                    <a:pt x="216" y="354"/>
                    <a:pt x="214" y="356"/>
                    <a:pt x="215" y="356"/>
                  </a:cubicBezTo>
                  <a:cubicBezTo>
                    <a:pt x="221" y="356"/>
                    <a:pt x="223" y="349"/>
                    <a:pt x="231" y="343"/>
                  </a:cubicBezTo>
                  <a:cubicBezTo>
                    <a:pt x="233" y="343"/>
                    <a:pt x="232" y="346"/>
                    <a:pt x="234" y="345"/>
                  </a:cubicBezTo>
                  <a:cubicBezTo>
                    <a:pt x="237" y="341"/>
                    <a:pt x="241" y="339"/>
                    <a:pt x="245" y="337"/>
                  </a:cubicBezTo>
                  <a:cubicBezTo>
                    <a:pt x="245" y="340"/>
                    <a:pt x="245" y="340"/>
                    <a:pt x="245" y="340"/>
                  </a:cubicBezTo>
                  <a:cubicBezTo>
                    <a:pt x="250" y="342"/>
                    <a:pt x="251" y="335"/>
                    <a:pt x="253" y="337"/>
                  </a:cubicBezTo>
                  <a:cubicBezTo>
                    <a:pt x="252" y="340"/>
                    <a:pt x="251" y="342"/>
                    <a:pt x="252" y="345"/>
                  </a:cubicBezTo>
                  <a:cubicBezTo>
                    <a:pt x="256" y="348"/>
                    <a:pt x="261" y="345"/>
                    <a:pt x="263" y="345"/>
                  </a:cubicBezTo>
                  <a:cubicBezTo>
                    <a:pt x="265" y="350"/>
                    <a:pt x="267" y="353"/>
                    <a:pt x="269" y="356"/>
                  </a:cubicBezTo>
                  <a:cubicBezTo>
                    <a:pt x="267" y="362"/>
                    <a:pt x="262" y="369"/>
                    <a:pt x="263" y="376"/>
                  </a:cubicBezTo>
                  <a:cubicBezTo>
                    <a:pt x="264" y="376"/>
                    <a:pt x="266" y="375"/>
                    <a:pt x="267" y="377"/>
                  </a:cubicBezTo>
                  <a:cubicBezTo>
                    <a:pt x="267" y="409"/>
                    <a:pt x="253" y="443"/>
                    <a:pt x="230" y="460"/>
                  </a:cubicBezTo>
                  <a:cubicBezTo>
                    <a:pt x="223" y="457"/>
                    <a:pt x="211" y="460"/>
                    <a:pt x="206" y="465"/>
                  </a:cubicBezTo>
                  <a:cubicBezTo>
                    <a:pt x="208" y="459"/>
                    <a:pt x="203" y="460"/>
                    <a:pt x="201" y="457"/>
                  </a:cubicBezTo>
                  <a:cubicBezTo>
                    <a:pt x="199" y="450"/>
                    <a:pt x="204" y="445"/>
                    <a:pt x="201" y="438"/>
                  </a:cubicBezTo>
                  <a:cubicBezTo>
                    <a:pt x="190" y="438"/>
                    <a:pt x="182" y="442"/>
                    <a:pt x="174" y="446"/>
                  </a:cubicBezTo>
                  <a:cubicBezTo>
                    <a:pt x="173" y="457"/>
                    <a:pt x="179" y="464"/>
                    <a:pt x="176" y="479"/>
                  </a:cubicBezTo>
                  <a:cubicBezTo>
                    <a:pt x="179" y="479"/>
                    <a:pt x="178" y="476"/>
                    <a:pt x="181" y="477"/>
                  </a:cubicBezTo>
                  <a:cubicBezTo>
                    <a:pt x="176" y="481"/>
                    <a:pt x="181" y="491"/>
                    <a:pt x="178" y="499"/>
                  </a:cubicBezTo>
                  <a:cubicBezTo>
                    <a:pt x="179" y="500"/>
                    <a:pt x="183" y="499"/>
                    <a:pt x="182" y="503"/>
                  </a:cubicBezTo>
                  <a:cubicBezTo>
                    <a:pt x="175" y="505"/>
                    <a:pt x="172" y="508"/>
                    <a:pt x="165" y="512"/>
                  </a:cubicBezTo>
                  <a:cubicBezTo>
                    <a:pt x="153" y="509"/>
                    <a:pt x="145" y="524"/>
                    <a:pt x="138" y="532"/>
                  </a:cubicBezTo>
                  <a:cubicBezTo>
                    <a:pt x="139" y="542"/>
                    <a:pt x="138" y="555"/>
                    <a:pt x="141" y="565"/>
                  </a:cubicBezTo>
                  <a:cubicBezTo>
                    <a:pt x="140" y="581"/>
                    <a:pt x="132" y="593"/>
                    <a:pt x="128" y="608"/>
                  </a:cubicBezTo>
                  <a:cubicBezTo>
                    <a:pt x="123" y="608"/>
                    <a:pt x="123" y="614"/>
                    <a:pt x="119" y="615"/>
                  </a:cubicBezTo>
                  <a:cubicBezTo>
                    <a:pt x="116" y="611"/>
                    <a:pt x="111" y="615"/>
                    <a:pt x="109" y="611"/>
                  </a:cubicBezTo>
                  <a:cubicBezTo>
                    <a:pt x="101" y="617"/>
                    <a:pt x="97" y="627"/>
                    <a:pt x="92" y="636"/>
                  </a:cubicBezTo>
                  <a:cubicBezTo>
                    <a:pt x="89" y="634"/>
                    <a:pt x="87" y="631"/>
                    <a:pt x="84" y="629"/>
                  </a:cubicBezTo>
                  <a:cubicBezTo>
                    <a:pt x="84" y="624"/>
                    <a:pt x="85" y="617"/>
                    <a:pt x="82" y="615"/>
                  </a:cubicBezTo>
                  <a:cubicBezTo>
                    <a:pt x="78" y="614"/>
                    <a:pt x="79" y="617"/>
                    <a:pt x="76" y="617"/>
                  </a:cubicBezTo>
                  <a:cubicBezTo>
                    <a:pt x="76" y="616"/>
                    <a:pt x="77" y="614"/>
                    <a:pt x="76" y="614"/>
                  </a:cubicBezTo>
                  <a:cubicBezTo>
                    <a:pt x="75" y="615"/>
                    <a:pt x="74" y="617"/>
                    <a:pt x="72" y="617"/>
                  </a:cubicBezTo>
                  <a:cubicBezTo>
                    <a:pt x="71" y="614"/>
                    <a:pt x="70" y="614"/>
                    <a:pt x="67" y="615"/>
                  </a:cubicBezTo>
                  <a:cubicBezTo>
                    <a:pt x="67" y="612"/>
                    <a:pt x="67" y="610"/>
                    <a:pt x="65" y="610"/>
                  </a:cubicBezTo>
                  <a:cubicBezTo>
                    <a:pt x="63" y="612"/>
                    <a:pt x="60" y="614"/>
                    <a:pt x="60" y="619"/>
                  </a:cubicBezTo>
                  <a:cubicBezTo>
                    <a:pt x="60" y="621"/>
                    <a:pt x="64" y="620"/>
                    <a:pt x="64" y="623"/>
                  </a:cubicBezTo>
                  <a:cubicBezTo>
                    <a:pt x="61" y="625"/>
                    <a:pt x="63" y="631"/>
                    <a:pt x="60" y="633"/>
                  </a:cubicBezTo>
                  <a:cubicBezTo>
                    <a:pt x="60" y="630"/>
                    <a:pt x="55" y="632"/>
                    <a:pt x="53" y="630"/>
                  </a:cubicBezTo>
                  <a:cubicBezTo>
                    <a:pt x="46" y="635"/>
                    <a:pt x="49" y="645"/>
                    <a:pt x="45" y="651"/>
                  </a:cubicBezTo>
                  <a:cubicBezTo>
                    <a:pt x="43" y="654"/>
                    <a:pt x="39" y="655"/>
                    <a:pt x="37" y="657"/>
                  </a:cubicBezTo>
                  <a:cubicBezTo>
                    <a:pt x="34" y="661"/>
                    <a:pt x="36" y="668"/>
                    <a:pt x="31" y="671"/>
                  </a:cubicBezTo>
                  <a:cubicBezTo>
                    <a:pt x="30" y="671"/>
                    <a:pt x="29" y="670"/>
                    <a:pt x="27" y="671"/>
                  </a:cubicBezTo>
                  <a:cubicBezTo>
                    <a:pt x="21" y="675"/>
                    <a:pt x="25" y="682"/>
                    <a:pt x="22" y="689"/>
                  </a:cubicBezTo>
                  <a:cubicBezTo>
                    <a:pt x="20" y="687"/>
                    <a:pt x="23" y="681"/>
                    <a:pt x="19" y="681"/>
                  </a:cubicBezTo>
                  <a:cubicBezTo>
                    <a:pt x="21" y="694"/>
                    <a:pt x="15" y="700"/>
                    <a:pt x="19" y="711"/>
                  </a:cubicBezTo>
                  <a:cubicBezTo>
                    <a:pt x="16" y="710"/>
                    <a:pt x="18" y="714"/>
                    <a:pt x="15" y="714"/>
                  </a:cubicBezTo>
                  <a:cubicBezTo>
                    <a:pt x="8" y="753"/>
                    <a:pt x="0" y="800"/>
                    <a:pt x="3" y="845"/>
                  </a:cubicBezTo>
                  <a:cubicBezTo>
                    <a:pt x="4" y="874"/>
                    <a:pt x="7" y="900"/>
                    <a:pt x="10" y="925"/>
                  </a:cubicBezTo>
                  <a:cubicBezTo>
                    <a:pt x="22" y="1004"/>
                    <a:pt x="40" y="1074"/>
                    <a:pt x="66" y="1136"/>
                  </a:cubicBezTo>
                  <a:cubicBezTo>
                    <a:pt x="81" y="1172"/>
                    <a:pt x="97" y="1206"/>
                    <a:pt x="116" y="1234"/>
                  </a:cubicBezTo>
                  <a:cubicBezTo>
                    <a:pt x="115" y="1232"/>
                    <a:pt x="115" y="1229"/>
                    <a:pt x="117" y="1227"/>
                  </a:cubicBezTo>
                  <a:cubicBezTo>
                    <a:pt x="134" y="1241"/>
                    <a:pt x="145" y="1273"/>
                    <a:pt x="172" y="1283"/>
                  </a:cubicBezTo>
                  <a:cubicBezTo>
                    <a:pt x="177" y="1290"/>
                    <a:pt x="184" y="1296"/>
                    <a:pt x="193" y="1299"/>
                  </a:cubicBezTo>
                  <a:cubicBezTo>
                    <a:pt x="195" y="1290"/>
                    <a:pt x="188" y="1276"/>
                    <a:pt x="187" y="1270"/>
                  </a:cubicBezTo>
                  <a:cubicBezTo>
                    <a:pt x="197" y="1287"/>
                    <a:pt x="206" y="1311"/>
                    <a:pt x="224" y="1317"/>
                  </a:cubicBezTo>
                  <a:cubicBezTo>
                    <a:pt x="228" y="1313"/>
                    <a:pt x="231" y="1308"/>
                    <a:pt x="231" y="1303"/>
                  </a:cubicBezTo>
                  <a:cubicBezTo>
                    <a:pt x="238" y="1307"/>
                    <a:pt x="241" y="1316"/>
                    <a:pt x="248" y="1319"/>
                  </a:cubicBezTo>
                  <a:cubicBezTo>
                    <a:pt x="249" y="1319"/>
                    <a:pt x="249" y="1318"/>
                    <a:pt x="250" y="1319"/>
                  </a:cubicBezTo>
                  <a:cubicBezTo>
                    <a:pt x="251" y="1313"/>
                    <a:pt x="247" y="1308"/>
                    <a:pt x="248" y="1306"/>
                  </a:cubicBezTo>
                  <a:cubicBezTo>
                    <a:pt x="254" y="1312"/>
                    <a:pt x="261" y="1316"/>
                    <a:pt x="263" y="1325"/>
                  </a:cubicBezTo>
                  <a:cubicBezTo>
                    <a:pt x="261" y="1325"/>
                    <a:pt x="260" y="1324"/>
                    <a:pt x="259" y="1323"/>
                  </a:cubicBezTo>
                  <a:cubicBezTo>
                    <a:pt x="259" y="1328"/>
                    <a:pt x="262" y="1331"/>
                    <a:pt x="267" y="1332"/>
                  </a:cubicBezTo>
                  <a:cubicBezTo>
                    <a:pt x="266" y="1329"/>
                    <a:pt x="270" y="1330"/>
                    <a:pt x="271" y="1330"/>
                  </a:cubicBezTo>
                  <a:cubicBezTo>
                    <a:pt x="278" y="1334"/>
                    <a:pt x="279" y="1342"/>
                    <a:pt x="288" y="1343"/>
                  </a:cubicBezTo>
                  <a:cubicBezTo>
                    <a:pt x="307" y="1338"/>
                    <a:pt x="305" y="1369"/>
                    <a:pt x="319" y="1374"/>
                  </a:cubicBezTo>
                  <a:cubicBezTo>
                    <a:pt x="329" y="1373"/>
                    <a:pt x="332" y="1378"/>
                    <a:pt x="337" y="1382"/>
                  </a:cubicBezTo>
                  <a:cubicBezTo>
                    <a:pt x="352" y="1381"/>
                    <a:pt x="352" y="1394"/>
                    <a:pt x="361" y="1399"/>
                  </a:cubicBezTo>
                  <a:cubicBezTo>
                    <a:pt x="362" y="1395"/>
                    <a:pt x="375" y="1396"/>
                    <a:pt x="372" y="1400"/>
                  </a:cubicBezTo>
                  <a:cubicBezTo>
                    <a:pt x="371" y="1399"/>
                    <a:pt x="368" y="1399"/>
                    <a:pt x="365" y="1399"/>
                  </a:cubicBezTo>
                  <a:cubicBezTo>
                    <a:pt x="365" y="1407"/>
                    <a:pt x="373" y="1411"/>
                    <a:pt x="378" y="1416"/>
                  </a:cubicBezTo>
                  <a:cubicBezTo>
                    <a:pt x="383" y="1422"/>
                    <a:pt x="384" y="1431"/>
                    <a:pt x="391" y="1435"/>
                  </a:cubicBezTo>
                  <a:cubicBezTo>
                    <a:pt x="392" y="1431"/>
                    <a:pt x="391" y="1431"/>
                    <a:pt x="392" y="1429"/>
                  </a:cubicBezTo>
                  <a:cubicBezTo>
                    <a:pt x="393" y="1432"/>
                    <a:pt x="396" y="1428"/>
                    <a:pt x="397" y="1429"/>
                  </a:cubicBezTo>
                  <a:cubicBezTo>
                    <a:pt x="396" y="1422"/>
                    <a:pt x="390" y="1420"/>
                    <a:pt x="388" y="1414"/>
                  </a:cubicBezTo>
                  <a:cubicBezTo>
                    <a:pt x="390" y="1414"/>
                    <a:pt x="390" y="1416"/>
                    <a:pt x="392" y="1416"/>
                  </a:cubicBezTo>
                  <a:cubicBezTo>
                    <a:pt x="390" y="1411"/>
                    <a:pt x="387" y="1407"/>
                    <a:pt x="383" y="1404"/>
                  </a:cubicBezTo>
                  <a:cubicBezTo>
                    <a:pt x="383" y="1399"/>
                    <a:pt x="381" y="1394"/>
                    <a:pt x="375" y="1392"/>
                  </a:cubicBezTo>
                  <a:cubicBezTo>
                    <a:pt x="373" y="1393"/>
                    <a:pt x="370" y="1398"/>
                    <a:pt x="368" y="1393"/>
                  </a:cubicBezTo>
                  <a:cubicBezTo>
                    <a:pt x="370" y="1393"/>
                    <a:pt x="372" y="1393"/>
                    <a:pt x="373" y="1391"/>
                  </a:cubicBezTo>
                  <a:cubicBezTo>
                    <a:pt x="367" y="1388"/>
                    <a:pt x="368" y="1373"/>
                    <a:pt x="359" y="1376"/>
                  </a:cubicBezTo>
                  <a:cubicBezTo>
                    <a:pt x="362" y="1377"/>
                    <a:pt x="363" y="1378"/>
                    <a:pt x="362" y="1382"/>
                  </a:cubicBezTo>
                  <a:cubicBezTo>
                    <a:pt x="358" y="1381"/>
                    <a:pt x="356" y="1378"/>
                    <a:pt x="356" y="1374"/>
                  </a:cubicBezTo>
                  <a:cubicBezTo>
                    <a:pt x="357" y="1374"/>
                    <a:pt x="358" y="1376"/>
                    <a:pt x="358" y="1373"/>
                  </a:cubicBezTo>
                  <a:cubicBezTo>
                    <a:pt x="356" y="1370"/>
                    <a:pt x="351" y="1364"/>
                    <a:pt x="350" y="1363"/>
                  </a:cubicBezTo>
                  <a:cubicBezTo>
                    <a:pt x="352" y="1364"/>
                    <a:pt x="356" y="1368"/>
                    <a:pt x="359" y="1366"/>
                  </a:cubicBezTo>
                  <a:cubicBezTo>
                    <a:pt x="354" y="1361"/>
                    <a:pt x="347" y="1360"/>
                    <a:pt x="342" y="1354"/>
                  </a:cubicBezTo>
                  <a:cubicBezTo>
                    <a:pt x="342" y="1353"/>
                    <a:pt x="343" y="1350"/>
                    <a:pt x="342" y="1349"/>
                  </a:cubicBezTo>
                  <a:cubicBezTo>
                    <a:pt x="340" y="1344"/>
                    <a:pt x="329" y="1331"/>
                    <a:pt x="325" y="1332"/>
                  </a:cubicBezTo>
                  <a:cubicBezTo>
                    <a:pt x="324" y="1338"/>
                    <a:pt x="333" y="1340"/>
                    <a:pt x="332" y="1343"/>
                  </a:cubicBezTo>
                  <a:cubicBezTo>
                    <a:pt x="326" y="1344"/>
                    <a:pt x="328" y="1336"/>
                    <a:pt x="323" y="1336"/>
                  </a:cubicBezTo>
                  <a:cubicBezTo>
                    <a:pt x="322" y="1338"/>
                    <a:pt x="326" y="1339"/>
                    <a:pt x="323" y="1340"/>
                  </a:cubicBezTo>
                  <a:cubicBezTo>
                    <a:pt x="320" y="1338"/>
                    <a:pt x="321" y="1332"/>
                    <a:pt x="320" y="1329"/>
                  </a:cubicBezTo>
                  <a:cubicBezTo>
                    <a:pt x="314" y="1329"/>
                    <a:pt x="311" y="1319"/>
                    <a:pt x="316" y="1317"/>
                  </a:cubicBezTo>
                  <a:cubicBezTo>
                    <a:pt x="314" y="1313"/>
                    <a:pt x="309" y="1312"/>
                    <a:pt x="305" y="1310"/>
                  </a:cubicBezTo>
                  <a:cubicBezTo>
                    <a:pt x="303" y="1313"/>
                    <a:pt x="308" y="1317"/>
                    <a:pt x="309" y="1320"/>
                  </a:cubicBezTo>
                  <a:cubicBezTo>
                    <a:pt x="303" y="1316"/>
                    <a:pt x="299" y="1309"/>
                    <a:pt x="292" y="1307"/>
                  </a:cubicBezTo>
                  <a:cubicBezTo>
                    <a:pt x="297" y="1308"/>
                    <a:pt x="291" y="1304"/>
                    <a:pt x="295" y="1303"/>
                  </a:cubicBezTo>
                  <a:cubicBezTo>
                    <a:pt x="297" y="1306"/>
                    <a:pt x="299" y="1313"/>
                    <a:pt x="302" y="1310"/>
                  </a:cubicBezTo>
                  <a:cubicBezTo>
                    <a:pt x="299" y="1307"/>
                    <a:pt x="297" y="1303"/>
                    <a:pt x="293" y="1300"/>
                  </a:cubicBezTo>
                  <a:cubicBezTo>
                    <a:pt x="292" y="1301"/>
                    <a:pt x="293" y="1304"/>
                    <a:pt x="291" y="1303"/>
                  </a:cubicBezTo>
                  <a:cubicBezTo>
                    <a:pt x="285" y="1295"/>
                    <a:pt x="279" y="1286"/>
                    <a:pt x="269" y="1281"/>
                  </a:cubicBezTo>
                  <a:cubicBezTo>
                    <a:pt x="271" y="1275"/>
                    <a:pt x="265" y="1278"/>
                    <a:pt x="266" y="1272"/>
                  </a:cubicBezTo>
                  <a:cubicBezTo>
                    <a:pt x="268" y="1272"/>
                    <a:pt x="269" y="1275"/>
                    <a:pt x="268" y="1271"/>
                  </a:cubicBezTo>
                  <a:cubicBezTo>
                    <a:pt x="266" y="1260"/>
                    <a:pt x="254" y="1254"/>
                    <a:pt x="248" y="1245"/>
                  </a:cubicBezTo>
                  <a:cubicBezTo>
                    <a:pt x="244" y="1238"/>
                    <a:pt x="242" y="1230"/>
                    <a:pt x="237" y="1223"/>
                  </a:cubicBezTo>
                  <a:cubicBezTo>
                    <a:pt x="231" y="1216"/>
                    <a:pt x="220" y="1208"/>
                    <a:pt x="214" y="1202"/>
                  </a:cubicBezTo>
                  <a:cubicBezTo>
                    <a:pt x="209" y="1198"/>
                    <a:pt x="204" y="1191"/>
                    <a:pt x="201" y="1187"/>
                  </a:cubicBezTo>
                  <a:cubicBezTo>
                    <a:pt x="193" y="1176"/>
                    <a:pt x="191" y="1162"/>
                    <a:pt x="182" y="1150"/>
                  </a:cubicBezTo>
                  <a:cubicBezTo>
                    <a:pt x="180" y="1147"/>
                    <a:pt x="177" y="1146"/>
                    <a:pt x="175" y="1144"/>
                  </a:cubicBezTo>
                  <a:cubicBezTo>
                    <a:pt x="171" y="1137"/>
                    <a:pt x="170" y="1129"/>
                    <a:pt x="165" y="1122"/>
                  </a:cubicBezTo>
                  <a:cubicBezTo>
                    <a:pt x="155" y="1116"/>
                    <a:pt x="153" y="1102"/>
                    <a:pt x="146" y="1094"/>
                  </a:cubicBezTo>
                  <a:cubicBezTo>
                    <a:pt x="145" y="1085"/>
                    <a:pt x="139" y="1081"/>
                    <a:pt x="136" y="1075"/>
                  </a:cubicBezTo>
                  <a:cubicBezTo>
                    <a:pt x="137" y="1068"/>
                    <a:pt x="133" y="1067"/>
                    <a:pt x="130" y="1064"/>
                  </a:cubicBezTo>
                  <a:cubicBezTo>
                    <a:pt x="122" y="1042"/>
                    <a:pt x="108" y="1020"/>
                    <a:pt x="110" y="990"/>
                  </a:cubicBezTo>
                  <a:cubicBezTo>
                    <a:pt x="111" y="968"/>
                    <a:pt x="125" y="947"/>
                    <a:pt x="123" y="923"/>
                  </a:cubicBezTo>
                  <a:cubicBezTo>
                    <a:pt x="122" y="920"/>
                    <a:pt x="120" y="917"/>
                    <a:pt x="120" y="913"/>
                  </a:cubicBezTo>
                  <a:cubicBezTo>
                    <a:pt x="119" y="905"/>
                    <a:pt x="120" y="896"/>
                    <a:pt x="120" y="887"/>
                  </a:cubicBezTo>
                  <a:cubicBezTo>
                    <a:pt x="120" y="855"/>
                    <a:pt x="122" y="823"/>
                    <a:pt x="133" y="797"/>
                  </a:cubicBezTo>
                  <a:cubicBezTo>
                    <a:pt x="133" y="795"/>
                    <a:pt x="129" y="796"/>
                    <a:pt x="129" y="792"/>
                  </a:cubicBezTo>
                  <a:cubicBezTo>
                    <a:pt x="132" y="789"/>
                    <a:pt x="131" y="781"/>
                    <a:pt x="131" y="775"/>
                  </a:cubicBezTo>
                  <a:cubicBezTo>
                    <a:pt x="127" y="771"/>
                    <a:pt x="123" y="769"/>
                    <a:pt x="119" y="767"/>
                  </a:cubicBezTo>
                  <a:cubicBezTo>
                    <a:pt x="119" y="766"/>
                    <a:pt x="118" y="765"/>
                    <a:pt x="118" y="764"/>
                  </a:cubicBezTo>
                  <a:cubicBezTo>
                    <a:pt x="120" y="763"/>
                    <a:pt x="120" y="765"/>
                    <a:pt x="122" y="765"/>
                  </a:cubicBezTo>
                  <a:cubicBezTo>
                    <a:pt x="120" y="760"/>
                    <a:pt x="125" y="758"/>
                    <a:pt x="125" y="752"/>
                  </a:cubicBezTo>
                  <a:cubicBezTo>
                    <a:pt x="126" y="748"/>
                    <a:pt x="121" y="742"/>
                    <a:pt x="124" y="737"/>
                  </a:cubicBezTo>
                  <a:cubicBezTo>
                    <a:pt x="116" y="733"/>
                    <a:pt x="117" y="722"/>
                    <a:pt x="115" y="716"/>
                  </a:cubicBezTo>
                  <a:cubicBezTo>
                    <a:pt x="111" y="715"/>
                    <a:pt x="112" y="718"/>
                    <a:pt x="109" y="719"/>
                  </a:cubicBezTo>
                  <a:cubicBezTo>
                    <a:pt x="106" y="716"/>
                    <a:pt x="108" y="715"/>
                    <a:pt x="108" y="711"/>
                  </a:cubicBezTo>
                  <a:cubicBezTo>
                    <a:pt x="104" y="711"/>
                    <a:pt x="104" y="707"/>
                    <a:pt x="103" y="704"/>
                  </a:cubicBezTo>
                  <a:cubicBezTo>
                    <a:pt x="98" y="704"/>
                    <a:pt x="98" y="704"/>
                    <a:pt x="98" y="704"/>
                  </a:cubicBezTo>
                  <a:cubicBezTo>
                    <a:pt x="93" y="698"/>
                    <a:pt x="96" y="692"/>
                    <a:pt x="96" y="686"/>
                  </a:cubicBezTo>
                  <a:cubicBezTo>
                    <a:pt x="96" y="684"/>
                    <a:pt x="94" y="683"/>
                    <a:pt x="94" y="681"/>
                  </a:cubicBezTo>
                  <a:cubicBezTo>
                    <a:pt x="91" y="660"/>
                    <a:pt x="98" y="633"/>
                    <a:pt x="108" y="621"/>
                  </a:cubicBezTo>
                  <a:cubicBezTo>
                    <a:pt x="110" y="623"/>
                    <a:pt x="114" y="624"/>
                    <a:pt x="116" y="626"/>
                  </a:cubicBezTo>
                  <a:cubicBezTo>
                    <a:pt x="115" y="630"/>
                    <a:pt x="112" y="632"/>
                    <a:pt x="112" y="637"/>
                  </a:cubicBezTo>
                  <a:cubicBezTo>
                    <a:pt x="117" y="639"/>
                    <a:pt x="119" y="633"/>
                    <a:pt x="118" y="627"/>
                  </a:cubicBezTo>
                  <a:cubicBezTo>
                    <a:pt x="119" y="626"/>
                    <a:pt x="122" y="629"/>
                    <a:pt x="124" y="626"/>
                  </a:cubicBezTo>
                  <a:cubicBezTo>
                    <a:pt x="123" y="616"/>
                    <a:pt x="135" y="614"/>
                    <a:pt x="139" y="607"/>
                  </a:cubicBezTo>
                  <a:cubicBezTo>
                    <a:pt x="142" y="600"/>
                    <a:pt x="142" y="593"/>
                    <a:pt x="148" y="587"/>
                  </a:cubicBezTo>
                  <a:cubicBezTo>
                    <a:pt x="149" y="594"/>
                    <a:pt x="155" y="582"/>
                    <a:pt x="157" y="579"/>
                  </a:cubicBezTo>
                  <a:cubicBezTo>
                    <a:pt x="153" y="565"/>
                    <a:pt x="166" y="554"/>
                    <a:pt x="171" y="543"/>
                  </a:cubicBezTo>
                  <a:cubicBezTo>
                    <a:pt x="169" y="540"/>
                    <a:pt x="168" y="538"/>
                    <a:pt x="172" y="536"/>
                  </a:cubicBezTo>
                  <a:cubicBezTo>
                    <a:pt x="180" y="539"/>
                    <a:pt x="191" y="525"/>
                    <a:pt x="196" y="521"/>
                  </a:cubicBezTo>
                  <a:cubicBezTo>
                    <a:pt x="197" y="519"/>
                    <a:pt x="200" y="519"/>
                    <a:pt x="202" y="518"/>
                  </a:cubicBezTo>
                  <a:cubicBezTo>
                    <a:pt x="213" y="509"/>
                    <a:pt x="220" y="483"/>
                    <a:pt x="233" y="480"/>
                  </a:cubicBezTo>
                  <a:cubicBezTo>
                    <a:pt x="239" y="479"/>
                    <a:pt x="243" y="485"/>
                    <a:pt x="249" y="482"/>
                  </a:cubicBezTo>
                  <a:cubicBezTo>
                    <a:pt x="251" y="477"/>
                    <a:pt x="258" y="477"/>
                    <a:pt x="262" y="475"/>
                  </a:cubicBezTo>
                  <a:cubicBezTo>
                    <a:pt x="266" y="472"/>
                    <a:pt x="268" y="466"/>
                    <a:pt x="272" y="463"/>
                  </a:cubicBezTo>
                  <a:cubicBezTo>
                    <a:pt x="277" y="459"/>
                    <a:pt x="285" y="458"/>
                    <a:pt x="290" y="455"/>
                  </a:cubicBezTo>
                  <a:cubicBezTo>
                    <a:pt x="294" y="451"/>
                    <a:pt x="296" y="444"/>
                    <a:pt x="300" y="441"/>
                  </a:cubicBezTo>
                  <a:cubicBezTo>
                    <a:pt x="304" y="438"/>
                    <a:pt x="308" y="440"/>
                    <a:pt x="312" y="437"/>
                  </a:cubicBezTo>
                  <a:cubicBezTo>
                    <a:pt x="314" y="435"/>
                    <a:pt x="314" y="431"/>
                    <a:pt x="317" y="428"/>
                  </a:cubicBezTo>
                  <a:cubicBezTo>
                    <a:pt x="325" y="419"/>
                    <a:pt x="338" y="420"/>
                    <a:pt x="338" y="407"/>
                  </a:cubicBezTo>
                  <a:cubicBezTo>
                    <a:pt x="334" y="405"/>
                    <a:pt x="335" y="399"/>
                    <a:pt x="332" y="397"/>
                  </a:cubicBezTo>
                  <a:cubicBezTo>
                    <a:pt x="339" y="382"/>
                    <a:pt x="347" y="367"/>
                    <a:pt x="361" y="359"/>
                  </a:cubicBezTo>
                  <a:cubicBezTo>
                    <a:pt x="361" y="356"/>
                    <a:pt x="359" y="356"/>
                    <a:pt x="360" y="354"/>
                  </a:cubicBezTo>
                  <a:cubicBezTo>
                    <a:pt x="365" y="351"/>
                    <a:pt x="370" y="348"/>
                    <a:pt x="374" y="344"/>
                  </a:cubicBezTo>
                  <a:cubicBezTo>
                    <a:pt x="374" y="341"/>
                    <a:pt x="370" y="342"/>
                    <a:pt x="371" y="337"/>
                  </a:cubicBezTo>
                  <a:cubicBezTo>
                    <a:pt x="388" y="325"/>
                    <a:pt x="401" y="308"/>
                    <a:pt x="408" y="286"/>
                  </a:cubicBezTo>
                  <a:cubicBezTo>
                    <a:pt x="413" y="284"/>
                    <a:pt x="417" y="281"/>
                    <a:pt x="422" y="279"/>
                  </a:cubicBezTo>
                  <a:cubicBezTo>
                    <a:pt x="424" y="297"/>
                    <a:pt x="412" y="301"/>
                    <a:pt x="406" y="311"/>
                  </a:cubicBezTo>
                  <a:cubicBezTo>
                    <a:pt x="403" y="317"/>
                    <a:pt x="402" y="325"/>
                    <a:pt x="398" y="329"/>
                  </a:cubicBezTo>
                  <a:cubicBezTo>
                    <a:pt x="396" y="331"/>
                    <a:pt x="393" y="331"/>
                    <a:pt x="391" y="334"/>
                  </a:cubicBezTo>
                  <a:cubicBezTo>
                    <a:pt x="391" y="343"/>
                    <a:pt x="386" y="348"/>
                    <a:pt x="384" y="357"/>
                  </a:cubicBezTo>
                  <a:cubicBezTo>
                    <a:pt x="376" y="358"/>
                    <a:pt x="374" y="364"/>
                    <a:pt x="373" y="372"/>
                  </a:cubicBezTo>
                  <a:cubicBezTo>
                    <a:pt x="375" y="372"/>
                    <a:pt x="375" y="374"/>
                    <a:pt x="378" y="373"/>
                  </a:cubicBezTo>
                  <a:cubicBezTo>
                    <a:pt x="383" y="372"/>
                    <a:pt x="380" y="368"/>
                    <a:pt x="382" y="365"/>
                  </a:cubicBezTo>
                  <a:cubicBezTo>
                    <a:pt x="388" y="356"/>
                    <a:pt x="405" y="350"/>
                    <a:pt x="400" y="338"/>
                  </a:cubicBezTo>
                  <a:cubicBezTo>
                    <a:pt x="403" y="335"/>
                    <a:pt x="407" y="331"/>
                    <a:pt x="410" y="327"/>
                  </a:cubicBezTo>
                  <a:cubicBezTo>
                    <a:pt x="416" y="327"/>
                    <a:pt x="423" y="320"/>
                    <a:pt x="427" y="314"/>
                  </a:cubicBezTo>
                  <a:cubicBezTo>
                    <a:pt x="423" y="314"/>
                    <a:pt x="422" y="316"/>
                    <a:pt x="419" y="316"/>
                  </a:cubicBezTo>
                  <a:cubicBezTo>
                    <a:pt x="414" y="306"/>
                    <a:pt x="425" y="301"/>
                    <a:pt x="432" y="296"/>
                  </a:cubicBezTo>
                  <a:cubicBezTo>
                    <a:pt x="440" y="280"/>
                    <a:pt x="440" y="261"/>
                    <a:pt x="455" y="252"/>
                  </a:cubicBezTo>
                  <a:cubicBezTo>
                    <a:pt x="463" y="252"/>
                    <a:pt x="465" y="246"/>
                    <a:pt x="472" y="245"/>
                  </a:cubicBezTo>
                  <a:cubicBezTo>
                    <a:pt x="470" y="233"/>
                    <a:pt x="485" y="234"/>
                    <a:pt x="481" y="223"/>
                  </a:cubicBezTo>
                  <a:cubicBezTo>
                    <a:pt x="483" y="221"/>
                    <a:pt x="486" y="221"/>
                    <a:pt x="486" y="216"/>
                  </a:cubicBezTo>
                  <a:cubicBezTo>
                    <a:pt x="487" y="213"/>
                    <a:pt x="482" y="216"/>
                    <a:pt x="483" y="213"/>
                  </a:cubicBezTo>
                  <a:cubicBezTo>
                    <a:pt x="491" y="213"/>
                    <a:pt x="494" y="204"/>
                    <a:pt x="492" y="196"/>
                  </a:cubicBezTo>
                  <a:cubicBezTo>
                    <a:pt x="493" y="194"/>
                    <a:pt x="497" y="194"/>
                    <a:pt x="497" y="191"/>
                  </a:cubicBezTo>
                  <a:cubicBezTo>
                    <a:pt x="497" y="186"/>
                    <a:pt x="492" y="186"/>
                    <a:pt x="492" y="182"/>
                  </a:cubicBezTo>
                  <a:cubicBezTo>
                    <a:pt x="495" y="167"/>
                    <a:pt x="487" y="159"/>
                    <a:pt x="484" y="146"/>
                  </a:cubicBezTo>
                  <a:cubicBezTo>
                    <a:pt x="484" y="141"/>
                    <a:pt x="491" y="134"/>
                    <a:pt x="487" y="130"/>
                  </a:cubicBezTo>
                  <a:cubicBezTo>
                    <a:pt x="498" y="125"/>
                    <a:pt x="507" y="118"/>
                    <a:pt x="512" y="111"/>
                  </a:cubicBezTo>
                  <a:cubicBezTo>
                    <a:pt x="507" y="109"/>
                    <a:pt x="503" y="115"/>
                    <a:pt x="498" y="116"/>
                  </a:cubicBezTo>
                  <a:cubicBezTo>
                    <a:pt x="498" y="114"/>
                    <a:pt x="498" y="114"/>
                    <a:pt x="499" y="113"/>
                  </a:cubicBezTo>
                  <a:cubicBezTo>
                    <a:pt x="492" y="118"/>
                    <a:pt x="487" y="126"/>
                    <a:pt x="479" y="130"/>
                  </a:cubicBezTo>
                  <a:cubicBezTo>
                    <a:pt x="478" y="133"/>
                    <a:pt x="481" y="132"/>
                    <a:pt x="482" y="134"/>
                  </a:cubicBezTo>
                  <a:cubicBezTo>
                    <a:pt x="479" y="133"/>
                    <a:pt x="478" y="135"/>
                    <a:pt x="476" y="135"/>
                  </a:cubicBezTo>
                  <a:cubicBezTo>
                    <a:pt x="477" y="137"/>
                    <a:pt x="478" y="141"/>
                    <a:pt x="474" y="141"/>
                  </a:cubicBezTo>
                  <a:cubicBezTo>
                    <a:pt x="472" y="135"/>
                    <a:pt x="473" y="130"/>
                    <a:pt x="478" y="125"/>
                  </a:cubicBezTo>
                  <a:cubicBezTo>
                    <a:pt x="480" y="123"/>
                    <a:pt x="484" y="123"/>
                    <a:pt x="487" y="121"/>
                  </a:cubicBezTo>
                  <a:cubicBezTo>
                    <a:pt x="489" y="120"/>
                    <a:pt x="489" y="118"/>
                    <a:pt x="490" y="117"/>
                  </a:cubicBezTo>
                  <a:cubicBezTo>
                    <a:pt x="496" y="112"/>
                    <a:pt x="503" y="113"/>
                    <a:pt x="508" y="108"/>
                  </a:cubicBezTo>
                  <a:cubicBezTo>
                    <a:pt x="503" y="106"/>
                    <a:pt x="506" y="101"/>
                    <a:pt x="510" y="99"/>
                  </a:cubicBezTo>
                  <a:cubicBezTo>
                    <a:pt x="509" y="100"/>
                    <a:pt x="519" y="101"/>
                    <a:pt x="516" y="97"/>
                  </a:cubicBezTo>
                  <a:cubicBezTo>
                    <a:pt x="514" y="96"/>
                    <a:pt x="512" y="100"/>
                    <a:pt x="511" y="97"/>
                  </a:cubicBezTo>
                  <a:cubicBezTo>
                    <a:pt x="511" y="95"/>
                    <a:pt x="510" y="95"/>
                    <a:pt x="511" y="94"/>
                  </a:cubicBezTo>
                  <a:cubicBezTo>
                    <a:pt x="515" y="96"/>
                    <a:pt x="520" y="97"/>
                    <a:pt x="523" y="93"/>
                  </a:cubicBezTo>
                  <a:cubicBezTo>
                    <a:pt x="521" y="91"/>
                    <a:pt x="519" y="95"/>
                    <a:pt x="519" y="93"/>
                  </a:cubicBezTo>
                  <a:cubicBezTo>
                    <a:pt x="517" y="87"/>
                    <a:pt x="525" y="87"/>
                    <a:pt x="529" y="82"/>
                  </a:cubicBezTo>
                  <a:cubicBezTo>
                    <a:pt x="531" y="78"/>
                    <a:pt x="530" y="72"/>
                    <a:pt x="534" y="71"/>
                  </a:cubicBezTo>
                  <a:cubicBezTo>
                    <a:pt x="535" y="71"/>
                    <a:pt x="538" y="78"/>
                    <a:pt x="539" y="73"/>
                  </a:cubicBezTo>
                  <a:cubicBezTo>
                    <a:pt x="539" y="69"/>
                    <a:pt x="537" y="71"/>
                    <a:pt x="537" y="66"/>
                  </a:cubicBezTo>
                  <a:cubicBezTo>
                    <a:pt x="540" y="66"/>
                    <a:pt x="539" y="64"/>
                    <a:pt x="541" y="64"/>
                  </a:cubicBezTo>
                  <a:cubicBezTo>
                    <a:pt x="541" y="67"/>
                    <a:pt x="538" y="68"/>
                    <a:pt x="540" y="70"/>
                  </a:cubicBezTo>
                  <a:cubicBezTo>
                    <a:pt x="543" y="70"/>
                    <a:pt x="542" y="67"/>
                    <a:pt x="545" y="68"/>
                  </a:cubicBezTo>
                  <a:cubicBezTo>
                    <a:pt x="543" y="69"/>
                    <a:pt x="541" y="74"/>
                    <a:pt x="545" y="74"/>
                  </a:cubicBezTo>
                  <a:cubicBezTo>
                    <a:pt x="549" y="70"/>
                    <a:pt x="548" y="67"/>
                    <a:pt x="551" y="63"/>
                  </a:cubicBezTo>
                  <a:cubicBezTo>
                    <a:pt x="547" y="63"/>
                    <a:pt x="544" y="67"/>
                    <a:pt x="542" y="63"/>
                  </a:cubicBezTo>
                  <a:cubicBezTo>
                    <a:pt x="547" y="61"/>
                    <a:pt x="548" y="62"/>
                    <a:pt x="554" y="59"/>
                  </a:cubicBezTo>
                  <a:cubicBezTo>
                    <a:pt x="553" y="60"/>
                    <a:pt x="552" y="61"/>
                    <a:pt x="554" y="62"/>
                  </a:cubicBezTo>
                  <a:cubicBezTo>
                    <a:pt x="568" y="51"/>
                    <a:pt x="591" y="49"/>
                    <a:pt x="609" y="42"/>
                  </a:cubicBezTo>
                  <a:cubicBezTo>
                    <a:pt x="609" y="43"/>
                    <a:pt x="611" y="43"/>
                    <a:pt x="612" y="43"/>
                  </a:cubicBezTo>
                  <a:cubicBezTo>
                    <a:pt x="611" y="44"/>
                    <a:pt x="611" y="45"/>
                    <a:pt x="612" y="47"/>
                  </a:cubicBezTo>
                  <a:cubicBezTo>
                    <a:pt x="622" y="44"/>
                    <a:pt x="628" y="50"/>
                    <a:pt x="635" y="48"/>
                  </a:cubicBezTo>
                  <a:cubicBezTo>
                    <a:pt x="635" y="45"/>
                    <a:pt x="631" y="48"/>
                    <a:pt x="633" y="44"/>
                  </a:cubicBezTo>
                  <a:cubicBezTo>
                    <a:pt x="637" y="45"/>
                    <a:pt x="640" y="47"/>
                    <a:pt x="645" y="47"/>
                  </a:cubicBezTo>
                  <a:cubicBezTo>
                    <a:pt x="646" y="48"/>
                    <a:pt x="646" y="49"/>
                    <a:pt x="645" y="50"/>
                  </a:cubicBezTo>
                  <a:cubicBezTo>
                    <a:pt x="649" y="50"/>
                    <a:pt x="651" y="52"/>
                    <a:pt x="653" y="54"/>
                  </a:cubicBezTo>
                  <a:cubicBezTo>
                    <a:pt x="648" y="58"/>
                    <a:pt x="643" y="48"/>
                    <a:pt x="639" y="54"/>
                  </a:cubicBezTo>
                  <a:cubicBezTo>
                    <a:pt x="646" y="57"/>
                    <a:pt x="652" y="62"/>
                    <a:pt x="661" y="59"/>
                  </a:cubicBezTo>
                  <a:cubicBezTo>
                    <a:pt x="661" y="52"/>
                    <a:pt x="653" y="59"/>
                    <a:pt x="652" y="55"/>
                  </a:cubicBezTo>
                  <a:cubicBezTo>
                    <a:pt x="672" y="52"/>
                    <a:pt x="695" y="70"/>
                    <a:pt x="717" y="64"/>
                  </a:cubicBezTo>
                  <a:cubicBezTo>
                    <a:pt x="725" y="68"/>
                    <a:pt x="736" y="69"/>
                    <a:pt x="747" y="71"/>
                  </a:cubicBezTo>
                  <a:cubicBezTo>
                    <a:pt x="744" y="64"/>
                    <a:pt x="738" y="68"/>
                    <a:pt x="732" y="67"/>
                  </a:cubicBezTo>
                  <a:close/>
                  <a:moveTo>
                    <a:pt x="60" y="652"/>
                  </a:moveTo>
                  <a:cubicBezTo>
                    <a:pt x="56" y="649"/>
                    <a:pt x="61" y="641"/>
                    <a:pt x="61" y="636"/>
                  </a:cubicBezTo>
                  <a:cubicBezTo>
                    <a:pt x="66" y="642"/>
                    <a:pt x="62" y="646"/>
                    <a:pt x="60" y="652"/>
                  </a:cubicBezTo>
                  <a:close/>
                  <a:moveTo>
                    <a:pt x="380" y="1401"/>
                  </a:moveTo>
                  <a:cubicBezTo>
                    <a:pt x="381" y="1407"/>
                    <a:pt x="388" y="1407"/>
                    <a:pt x="384" y="1414"/>
                  </a:cubicBezTo>
                  <a:cubicBezTo>
                    <a:pt x="381" y="1414"/>
                    <a:pt x="383" y="1410"/>
                    <a:pt x="381" y="1410"/>
                  </a:cubicBezTo>
                  <a:cubicBezTo>
                    <a:pt x="381" y="1409"/>
                    <a:pt x="383" y="1409"/>
                    <a:pt x="384" y="1409"/>
                  </a:cubicBezTo>
                  <a:cubicBezTo>
                    <a:pt x="382" y="1407"/>
                    <a:pt x="382" y="1405"/>
                    <a:pt x="379" y="1405"/>
                  </a:cubicBezTo>
                  <a:cubicBezTo>
                    <a:pt x="380" y="1407"/>
                    <a:pt x="373" y="1409"/>
                    <a:pt x="373" y="1404"/>
                  </a:cubicBezTo>
                  <a:cubicBezTo>
                    <a:pt x="377" y="1403"/>
                    <a:pt x="375" y="1402"/>
                    <a:pt x="380" y="1401"/>
                  </a:cubicBezTo>
                  <a:close/>
                  <a:moveTo>
                    <a:pt x="119" y="1239"/>
                  </a:moveTo>
                  <a:cubicBezTo>
                    <a:pt x="118" y="1237"/>
                    <a:pt x="117" y="1236"/>
                    <a:pt x="116" y="1234"/>
                  </a:cubicBezTo>
                  <a:cubicBezTo>
                    <a:pt x="116" y="1236"/>
                    <a:pt x="117" y="1238"/>
                    <a:pt x="119" y="1239"/>
                  </a:cubicBezTo>
                  <a:close/>
                  <a:moveTo>
                    <a:pt x="1279" y="110"/>
                  </a:moveTo>
                  <a:cubicBezTo>
                    <a:pt x="1291" y="112"/>
                    <a:pt x="1291" y="124"/>
                    <a:pt x="1301" y="127"/>
                  </a:cubicBezTo>
                  <a:cubicBezTo>
                    <a:pt x="1304" y="123"/>
                    <a:pt x="1297" y="119"/>
                    <a:pt x="1301" y="115"/>
                  </a:cubicBezTo>
                  <a:cubicBezTo>
                    <a:pt x="1292" y="82"/>
                    <a:pt x="1253" y="76"/>
                    <a:pt x="1235" y="55"/>
                  </a:cubicBezTo>
                  <a:cubicBezTo>
                    <a:pt x="1241" y="60"/>
                    <a:pt x="1248" y="64"/>
                    <a:pt x="1255" y="68"/>
                  </a:cubicBezTo>
                  <a:cubicBezTo>
                    <a:pt x="1256" y="65"/>
                    <a:pt x="1251" y="64"/>
                    <a:pt x="1254" y="63"/>
                  </a:cubicBezTo>
                  <a:cubicBezTo>
                    <a:pt x="1269" y="69"/>
                    <a:pt x="1280" y="82"/>
                    <a:pt x="1295" y="85"/>
                  </a:cubicBezTo>
                  <a:cubicBezTo>
                    <a:pt x="1294" y="85"/>
                    <a:pt x="1292" y="83"/>
                    <a:pt x="1294" y="83"/>
                  </a:cubicBezTo>
                  <a:cubicBezTo>
                    <a:pt x="1321" y="93"/>
                    <a:pt x="1341" y="109"/>
                    <a:pt x="1361" y="126"/>
                  </a:cubicBezTo>
                  <a:cubicBezTo>
                    <a:pt x="1363" y="128"/>
                    <a:pt x="1364" y="125"/>
                    <a:pt x="1366" y="127"/>
                  </a:cubicBezTo>
                  <a:cubicBezTo>
                    <a:pt x="1365" y="131"/>
                    <a:pt x="1368" y="130"/>
                    <a:pt x="1368" y="133"/>
                  </a:cubicBezTo>
                  <a:cubicBezTo>
                    <a:pt x="1365" y="131"/>
                    <a:pt x="1363" y="128"/>
                    <a:pt x="1359" y="127"/>
                  </a:cubicBezTo>
                  <a:cubicBezTo>
                    <a:pt x="1359" y="129"/>
                    <a:pt x="1359" y="131"/>
                    <a:pt x="1358" y="131"/>
                  </a:cubicBezTo>
                  <a:cubicBezTo>
                    <a:pt x="1355" y="128"/>
                    <a:pt x="1352" y="125"/>
                    <a:pt x="1348" y="122"/>
                  </a:cubicBezTo>
                  <a:cubicBezTo>
                    <a:pt x="1357" y="133"/>
                    <a:pt x="1366" y="147"/>
                    <a:pt x="1370" y="159"/>
                  </a:cubicBezTo>
                  <a:cubicBezTo>
                    <a:pt x="1370" y="158"/>
                    <a:pt x="1372" y="157"/>
                    <a:pt x="1373" y="157"/>
                  </a:cubicBezTo>
                  <a:cubicBezTo>
                    <a:pt x="1376" y="162"/>
                    <a:pt x="1381" y="165"/>
                    <a:pt x="1383" y="170"/>
                  </a:cubicBezTo>
                  <a:cubicBezTo>
                    <a:pt x="1383" y="175"/>
                    <a:pt x="1380" y="175"/>
                    <a:pt x="1383" y="179"/>
                  </a:cubicBezTo>
                  <a:cubicBezTo>
                    <a:pt x="1386" y="177"/>
                    <a:pt x="1390" y="179"/>
                    <a:pt x="1393" y="183"/>
                  </a:cubicBezTo>
                  <a:cubicBezTo>
                    <a:pt x="1386" y="167"/>
                    <a:pt x="1375" y="155"/>
                    <a:pt x="1367" y="141"/>
                  </a:cubicBezTo>
                  <a:cubicBezTo>
                    <a:pt x="1395" y="168"/>
                    <a:pt x="1421" y="203"/>
                    <a:pt x="1450" y="226"/>
                  </a:cubicBezTo>
                  <a:cubicBezTo>
                    <a:pt x="1454" y="228"/>
                    <a:pt x="1451" y="223"/>
                    <a:pt x="1453" y="223"/>
                  </a:cubicBezTo>
                  <a:cubicBezTo>
                    <a:pt x="1457" y="230"/>
                    <a:pt x="1464" y="234"/>
                    <a:pt x="1469" y="241"/>
                  </a:cubicBezTo>
                  <a:cubicBezTo>
                    <a:pt x="1476" y="250"/>
                    <a:pt x="1489" y="260"/>
                    <a:pt x="1492" y="268"/>
                  </a:cubicBezTo>
                  <a:cubicBezTo>
                    <a:pt x="1492" y="271"/>
                    <a:pt x="1493" y="277"/>
                    <a:pt x="1493" y="280"/>
                  </a:cubicBezTo>
                  <a:cubicBezTo>
                    <a:pt x="1495" y="288"/>
                    <a:pt x="1495" y="297"/>
                    <a:pt x="1499" y="303"/>
                  </a:cubicBezTo>
                  <a:cubicBezTo>
                    <a:pt x="1502" y="307"/>
                    <a:pt x="1509" y="308"/>
                    <a:pt x="1513" y="311"/>
                  </a:cubicBezTo>
                  <a:cubicBezTo>
                    <a:pt x="1515" y="313"/>
                    <a:pt x="1514" y="318"/>
                    <a:pt x="1518" y="316"/>
                  </a:cubicBezTo>
                  <a:cubicBezTo>
                    <a:pt x="1513" y="306"/>
                    <a:pt x="1511" y="297"/>
                    <a:pt x="1505" y="287"/>
                  </a:cubicBezTo>
                  <a:cubicBezTo>
                    <a:pt x="1508" y="285"/>
                    <a:pt x="1510" y="289"/>
                    <a:pt x="1511" y="287"/>
                  </a:cubicBezTo>
                  <a:cubicBezTo>
                    <a:pt x="1508" y="282"/>
                    <a:pt x="1502" y="276"/>
                    <a:pt x="1502" y="271"/>
                  </a:cubicBezTo>
                  <a:cubicBezTo>
                    <a:pt x="1509" y="270"/>
                    <a:pt x="1514" y="284"/>
                    <a:pt x="1519" y="285"/>
                  </a:cubicBezTo>
                  <a:cubicBezTo>
                    <a:pt x="1515" y="279"/>
                    <a:pt x="1511" y="273"/>
                    <a:pt x="1507" y="267"/>
                  </a:cubicBezTo>
                  <a:cubicBezTo>
                    <a:pt x="1517" y="278"/>
                    <a:pt x="1527" y="289"/>
                    <a:pt x="1536" y="301"/>
                  </a:cubicBezTo>
                  <a:cubicBezTo>
                    <a:pt x="1534" y="301"/>
                    <a:pt x="1533" y="299"/>
                    <a:pt x="1533" y="301"/>
                  </a:cubicBezTo>
                  <a:cubicBezTo>
                    <a:pt x="1534" y="303"/>
                    <a:pt x="1536" y="304"/>
                    <a:pt x="1537" y="308"/>
                  </a:cubicBezTo>
                  <a:cubicBezTo>
                    <a:pt x="1532" y="303"/>
                    <a:pt x="1529" y="298"/>
                    <a:pt x="1523" y="297"/>
                  </a:cubicBezTo>
                  <a:cubicBezTo>
                    <a:pt x="1532" y="309"/>
                    <a:pt x="1543" y="319"/>
                    <a:pt x="1550" y="333"/>
                  </a:cubicBezTo>
                  <a:cubicBezTo>
                    <a:pt x="1545" y="340"/>
                    <a:pt x="1555" y="346"/>
                    <a:pt x="1552" y="356"/>
                  </a:cubicBezTo>
                  <a:cubicBezTo>
                    <a:pt x="1553" y="358"/>
                    <a:pt x="1556" y="358"/>
                    <a:pt x="1558" y="359"/>
                  </a:cubicBezTo>
                  <a:cubicBezTo>
                    <a:pt x="1557" y="362"/>
                    <a:pt x="1554" y="361"/>
                    <a:pt x="1555" y="364"/>
                  </a:cubicBezTo>
                  <a:cubicBezTo>
                    <a:pt x="1557" y="367"/>
                    <a:pt x="1563" y="371"/>
                    <a:pt x="1562" y="374"/>
                  </a:cubicBezTo>
                  <a:cubicBezTo>
                    <a:pt x="1559" y="373"/>
                    <a:pt x="1558" y="369"/>
                    <a:pt x="1554" y="369"/>
                  </a:cubicBezTo>
                  <a:cubicBezTo>
                    <a:pt x="1555" y="375"/>
                    <a:pt x="1560" y="377"/>
                    <a:pt x="1561" y="383"/>
                  </a:cubicBezTo>
                  <a:cubicBezTo>
                    <a:pt x="1586" y="415"/>
                    <a:pt x="1596" y="460"/>
                    <a:pt x="1625" y="487"/>
                  </a:cubicBezTo>
                  <a:cubicBezTo>
                    <a:pt x="1625" y="486"/>
                    <a:pt x="1625" y="484"/>
                    <a:pt x="1626" y="484"/>
                  </a:cubicBezTo>
                  <a:cubicBezTo>
                    <a:pt x="1632" y="501"/>
                    <a:pt x="1644" y="510"/>
                    <a:pt x="1648" y="528"/>
                  </a:cubicBezTo>
                  <a:cubicBezTo>
                    <a:pt x="1651" y="524"/>
                    <a:pt x="1644" y="518"/>
                    <a:pt x="1647" y="514"/>
                  </a:cubicBezTo>
                  <a:cubicBezTo>
                    <a:pt x="1656" y="534"/>
                    <a:pt x="1671" y="555"/>
                    <a:pt x="1668" y="580"/>
                  </a:cubicBezTo>
                  <a:cubicBezTo>
                    <a:pt x="1668" y="585"/>
                    <a:pt x="1664" y="588"/>
                    <a:pt x="1663" y="592"/>
                  </a:cubicBezTo>
                  <a:cubicBezTo>
                    <a:pt x="1663" y="595"/>
                    <a:pt x="1665" y="598"/>
                    <a:pt x="1665" y="600"/>
                  </a:cubicBezTo>
                  <a:cubicBezTo>
                    <a:pt x="1668" y="621"/>
                    <a:pt x="1667" y="635"/>
                    <a:pt x="1672" y="650"/>
                  </a:cubicBezTo>
                  <a:cubicBezTo>
                    <a:pt x="1674" y="657"/>
                    <a:pt x="1679" y="663"/>
                    <a:pt x="1682" y="671"/>
                  </a:cubicBezTo>
                  <a:cubicBezTo>
                    <a:pt x="1684" y="682"/>
                    <a:pt x="1682" y="693"/>
                    <a:pt x="1689" y="701"/>
                  </a:cubicBezTo>
                  <a:cubicBezTo>
                    <a:pt x="1689" y="678"/>
                    <a:pt x="1689" y="678"/>
                    <a:pt x="1689" y="678"/>
                  </a:cubicBezTo>
                  <a:cubicBezTo>
                    <a:pt x="1695" y="680"/>
                    <a:pt x="1688" y="666"/>
                    <a:pt x="1693" y="663"/>
                  </a:cubicBezTo>
                  <a:cubicBezTo>
                    <a:pt x="1698" y="672"/>
                    <a:pt x="1697" y="688"/>
                    <a:pt x="1701" y="699"/>
                  </a:cubicBezTo>
                  <a:cubicBezTo>
                    <a:pt x="1696" y="644"/>
                    <a:pt x="1684" y="595"/>
                    <a:pt x="1668" y="548"/>
                  </a:cubicBezTo>
                  <a:cubicBezTo>
                    <a:pt x="1631" y="438"/>
                    <a:pt x="1580" y="350"/>
                    <a:pt x="1516" y="270"/>
                  </a:cubicBezTo>
                  <a:cubicBezTo>
                    <a:pt x="1452" y="190"/>
                    <a:pt x="1375" y="128"/>
                    <a:pt x="1285" y="73"/>
                  </a:cubicBezTo>
                  <a:cubicBezTo>
                    <a:pt x="1257" y="57"/>
                    <a:pt x="1214" y="32"/>
                    <a:pt x="1183" y="25"/>
                  </a:cubicBezTo>
                  <a:cubicBezTo>
                    <a:pt x="1172" y="14"/>
                    <a:pt x="1152" y="22"/>
                    <a:pt x="1135" y="23"/>
                  </a:cubicBezTo>
                  <a:cubicBezTo>
                    <a:pt x="1140" y="27"/>
                    <a:pt x="1147" y="29"/>
                    <a:pt x="1150" y="34"/>
                  </a:cubicBezTo>
                  <a:cubicBezTo>
                    <a:pt x="1155" y="30"/>
                    <a:pt x="1165" y="32"/>
                    <a:pt x="1168" y="29"/>
                  </a:cubicBezTo>
                  <a:cubicBezTo>
                    <a:pt x="1169" y="36"/>
                    <a:pt x="1178" y="35"/>
                    <a:pt x="1182" y="38"/>
                  </a:cubicBezTo>
                  <a:cubicBezTo>
                    <a:pt x="1178" y="38"/>
                    <a:pt x="1181" y="41"/>
                    <a:pt x="1178" y="44"/>
                  </a:cubicBezTo>
                  <a:cubicBezTo>
                    <a:pt x="1195" y="45"/>
                    <a:pt x="1207" y="59"/>
                    <a:pt x="1222" y="63"/>
                  </a:cubicBezTo>
                  <a:cubicBezTo>
                    <a:pt x="1223" y="63"/>
                    <a:pt x="1226" y="62"/>
                    <a:pt x="1227" y="62"/>
                  </a:cubicBezTo>
                  <a:cubicBezTo>
                    <a:pt x="1230" y="62"/>
                    <a:pt x="1233" y="65"/>
                    <a:pt x="1237" y="67"/>
                  </a:cubicBezTo>
                  <a:cubicBezTo>
                    <a:pt x="1237" y="67"/>
                    <a:pt x="1237" y="64"/>
                    <a:pt x="1238" y="65"/>
                  </a:cubicBezTo>
                  <a:cubicBezTo>
                    <a:pt x="1246" y="68"/>
                    <a:pt x="1253" y="73"/>
                    <a:pt x="1259" y="80"/>
                  </a:cubicBezTo>
                  <a:cubicBezTo>
                    <a:pt x="1257" y="81"/>
                    <a:pt x="1255" y="77"/>
                    <a:pt x="1254" y="80"/>
                  </a:cubicBezTo>
                  <a:cubicBezTo>
                    <a:pt x="1259" y="82"/>
                    <a:pt x="1257" y="86"/>
                    <a:pt x="1258" y="89"/>
                  </a:cubicBezTo>
                  <a:cubicBezTo>
                    <a:pt x="1264" y="90"/>
                    <a:pt x="1267" y="93"/>
                    <a:pt x="1268" y="99"/>
                  </a:cubicBezTo>
                  <a:cubicBezTo>
                    <a:pt x="1272" y="101"/>
                    <a:pt x="1276" y="102"/>
                    <a:pt x="1278" y="104"/>
                  </a:cubicBezTo>
                  <a:cubicBezTo>
                    <a:pt x="1278" y="107"/>
                    <a:pt x="1279" y="108"/>
                    <a:pt x="1279" y="110"/>
                  </a:cubicBezTo>
                  <a:close/>
                  <a:moveTo>
                    <a:pt x="1357" y="178"/>
                  </a:moveTo>
                  <a:cubicBezTo>
                    <a:pt x="1361" y="180"/>
                    <a:pt x="1366" y="187"/>
                    <a:pt x="1370" y="186"/>
                  </a:cubicBezTo>
                  <a:cubicBezTo>
                    <a:pt x="1366" y="183"/>
                    <a:pt x="1362" y="176"/>
                    <a:pt x="1357" y="178"/>
                  </a:cubicBezTo>
                  <a:close/>
                  <a:moveTo>
                    <a:pt x="1406" y="207"/>
                  </a:moveTo>
                  <a:cubicBezTo>
                    <a:pt x="1400" y="202"/>
                    <a:pt x="1401" y="190"/>
                    <a:pt x="1393" y="188"/>
                  </a:cubicBezTo>
                  <a:cubicBezTo>
                    <a:pt x="1392" y="190"/>
                    <a:pt x="1392" y="193"/>
                    <a:pt x="1391" y="194"/>
                  </a:cubicBezTo>
                  <a:cubicBezTo>
                    <a:pt x="1382" y="196"/>
                    <a:pt x="1379" y="193"/>
                    <a:pt x="1373" y="189"/>
                  </a:cubicBezTo>
                  <a:cubicBezTo>
                    <a:pt x="1375" y="193"/>
                    <a:pt x="1380" y="193"/>
                    <a:pt x="1382" y="195"/>
                  </a:cubicBezTo>
                  <a:cubicBezTo>
                    <a:pt x="1383" y="198"/>
                    <a:pt x="1381" y="198"/>
                    <a:pt x="1381" y="200"/>
                  </a:cubicBezTo>
                  <a:cubicBezTo>
                    <a:pt x="1389" y="204"/>
                    <a:pt x="1394" y="209"/>
                    <a:pt x="1400" y="215"/>
                  </a:cubicBezTo>
                  <a:cubicBezTo>
                    <a:pt x="1404" y="211"/>
                    <a:pt x="1409" y="213"/>
                    <a:pt x="1413" y="215"/>
                  </a:cubicBezTo>
                  <a:cubicBezTo>
                    <a:pt x="1413" y="217"/>
                    <a:pt x="1411" y="217"/>
                    <a:pt x="1410" y="216"/>
                  </a:cubicBezTo>
                  <a:cubicBezTo>
                    <a:pt x="1411" y="221"/>
                    <a:pt x="1415" y="222"/>
                    <a:pt x="1419" y="224"/>
                  </a:cubicBezTo>
                  <a:cubicBezTo>
                    <a:pt x="1416" y="217"/>
                    <a:pt x="1415" y="208"/>
                    <a:pt x="1406" y="207"/>
                  </a:cubicBezTo>
                  <a:close/>
                  <a:moveTo>
                    <a:pt x="1504" y="338"/>
                  </a:moveTo>
                  <a:cubicBezTo>
                    <a:pt x="1504" y="338"/>
                    <a:pt x="1503" y="338"/>
                    <a:pt x="1503" y="337"/>
                  </a:cubicBezTo>
                  <a:cubicBezTo>
                    <a:pt x="1503" y="338"/>
                    <a:pt x="1503" y="339"/>
                    <a:pt x="1504" y="338"/>
                  </a:cubicBezTo>
                  <a:close/>
                  <a:moveTo>
                    <a:pt x="1506" y="326"/>
                  </a:moveTo>
                  <a:cubicBezTo>
                    <a:pt x="1504" y="318"/>
                    <a:pt x="1500" y="311"/>
                    <a:pt x="1492" y="313"/>
                  </a:cubicBezTo>
                  <a:cubicBezTo>
                    <a:pt x="1493" y="323"/>
                    <a:pt x="1498" y="333"/>
                    <a:pt x="1503" y="337"/>
                  </a:cubicBezTo>
                  <a:cubicBezTo>
                    <a:pt x="1503" y="336"/>
                    <a:pt x="1503" y="334"/>
                    <a:pt x="1504" y="335"/>
                  </a:cubicBezTo>
                  <a:cubicBezTo>
                    <a:pt x="1506" y="336"/>
                    <a:pt x="1505" y="340"/>
                    <a:pt x="1509" y="340"/>
                  </a:cubicBezTo>
                  <a:cubicBezTo>
                    <a:pt x="1508" y="331"/>
                    <a:pt x="1504" y="330"/>
                    <a:pt x="1502" y="323"/>
                  </a:cubicBezTo>
                  <a:cubicBezTo>
                    <a:pt x="1504" y="323"/>
                    <a:pt x="1504" y="326"/>
                    <a:pt x="1506" y="326"/>
                  </a:cubicBezTo>
                  <a:close/>
                  <a:moveTo>
                    <a:pt x="1696" y="874"/>
                  </a:moveTo>
                  <a:cubicBezTo>
                    <a:pt x="1696" y="872"/>
                    <a:pt x="1697" y="872"/>
                    <a:pt x="1698" y="873"/>
                  </a:cubicBezTo>
                  <a:cubicBezTo>
                    <a:pt x="1698" y="869"/>
                    <a:pt x="1702" y="864"/>
                    <a:pt x="1699" y="861"/>
                  </a:cubicBezTo>
                  <a:cubicBezTo>
                    <a:pt x="1699" y="866"/>
                    <a:pt x="1695" y="872"/>
                    <a:pt x="1696" y="874"/>
                  </a:cubicBezTo>
                  <a:close/>
                  <a:moveTo>
                    <a:pt x="824" y="1523"/>
                  </a:moveTo>
                  <a:cubicBezTo>
                    <a:pt x="826" y="1525"/>
                    <a:pt x="831" y="1524"/>
                    <a:pt x="833" y="1523"/>
                  </a:cubicBezTo>
                  <a:cubicBezTo>
                    <a:pt x="833" y="1525"/>
                    <a:pt x="833" y="1526"/>
                    <a:pt x="834" y="1527"/>
                  </a:cubicBezTo>
                  <a:cubicBezTo>
                    <a:pt x="832" y="1527"/>
                    <a:pt x="830" y="1528"/>
                    <a:pt x="829" y="1530"/>
                  </a:cubicBezTo>
                  <a:cubicBezTo>
                    <a:pt x="836" y="1537"/>
                    <a:pt x="841" y="1523"/>
                    <a:pt x="845" y="1528"/>
                  </a:cubicBezTo>
                  <a:cubicBezTo>
                    <a:pt x="847" y="1522"/>
                    <a:pt x="852" y="1519"/>
                    <a:pt x="855" y="1515"/>
                  </a:cubicBezTo>
                  <a:cubicBezTo>
                    <a:pt x="846" y="1516"/>
                    <a:pt x="829" y="1515"/>
                    <a:pt x="824" y="1523"/>
                  </a:cubicBezTo>
                  <a:close/>
                </a:path>
              </a:pathLst>
            </a:custGeom>
            <a:gradFill rotWithShape="1">
              <a:gsLst>
                <a:gs pos="0">
                  <a:srgbClr val="D4D4D4"/>
                </a:gs>
                <a:gs pos="100000">
                  <a:srgbClr val="B2B2B2"/>
                </a:gs>
              </a:gsLst>
              <a:lin ang="2700000" scaled="1"/>
            </a:gradFill>
            <a:ln w="9525">
              <a:solidFill>
                <a:srgbClr val="FFFFFF"/>
              </a:solidFill>
              <a:round/>
              <a:headEnd/>
              <a:tailEnd/>
            </a:ln>
          </p:spPr>
          <p:txBody>
            <a:bodyPr/>
            <a:lstStyle/>
            <a:p>
              <a:endParaRPr lang="es-PE">
                <a:solidFill>
                  <a:prstClr val="black"/>
                </a:solidFill>
                <a:latin typeface="Arial" pitchFamily="34" charset="0"/>
                <a:cs typeface="Arial" pitchFamily="34" charset="0"/>
              </a:endParaRPr>
            </a:p>
          </p:txBody>
        </p:sp>
        <p:sp>
          <p:nvSpPr>
            <p:cNvPr id="13" name="Freeform 22"/>
            <p:cNvSpPr>
              <a:spLocks noEditPoints="1"/>
            </p:cNvSpPr>
            <p:nvPr/>
          </p:nvSpPr>
          <p:spPr bwMode="gray">
            <a:xfrm>
              <a:off x="3857" y="-114"/>
              <a:ext cx="1267" cy="1216"/>
            </a:xfrm>
            <a:custGeom>
              <a:avLst/>
              <a:gdLst>
                <a:gd name="T0" fmla="*/ 494 w 1683"/>
                <a:gd name="T1" fmla="*/ 13 h 1609"/>
                <a:gd name="T2" fmla="*/ 263 w 1683"/>
                <a:gd name="T3" fmla="*/ 51 h 1609"/>
                <a:gd name="T4" fmla="*/ 280 w 1683"/>
                <a:gd name="T5" fmla="*/ 77 h 1609"/>
                <a:gd name="T6" fmla="*/ 102 w 1683"/>
                <a:gd name="T7" fmla="*/ 111 h 1609"/>
                <a:gd name="T8" fmla="*/ 229 w 1683"/>
                <a:gd name="T9" fmla="*/ 110 h 1609"/>
                <a:gd name="T10" fmla="*/ 283 w 1683"/>
                <a:gd name="T11" fmla="*/ 196 h 1609"/>
                <a:gd name="T12" fmla="*/ 384 w 1683"/>
                <a:gd name="T13" fmla="*/ 205 h 1609"/>
                <a:gd name="T14" fmla="*/ 393 w 1683"/>
                <a:gd name="T15" fmla="*/ 221 h 1609"/>
                <a:gd name="T16" fmla="*/ 388 w 1683"/>
                <a:gd name="T17" fmla="*/ 227 h 1609"/>
                <a:gd name="T18" fmla="*/ 382 w 1683"/>
                <a:gd name="T19" fmla="*/ 231 h 1609"/>
                <a:gd name="T20" fmla="*/ 443 w 1683"/>
                <a:gd name="T21" fmla="*/ 241 h 1609"/>
                <a:gd name="T22" fmla="*/ 563 w 1683"/>
                <a:gd name="T23" fmla="*/ 579 h 1609"/>
                <a:gd name="T24" fmla="*/ 563 w 1683"/>
                <a:gd name="T25" fmla="*/ 595 h 1609"/>
                <a:gd name="T26" fmla="*/ 246 w 1683"/>
                <a:gd name="T27" fmla="*/ 13 h 1609"/>
                <a:gd name="T28" fmla="*/ 200 w 1683"/>
                <a:gd name="T29" fmla="*/ 53 h 1609"/>
                <a:gd name="T30" fmla="*/ 288 w 1683"/>
                <a:gd name="T31" fmla="*/ 23 h 1609"/>
                <a:gd name="T32" fmla="*/ 263 w 1683"/>
                <a:gd name="T33" fmla="*/ 2 h 1609"/>
                <a:gd name="T34" fmla="*/ 254 w 1683"/>
                <a:gd name="T35" fmla="*/ 2 h 1609"/>
                <a:gd name="T36" fmla="*/ 219 w 1683"/>
                <a:gd name="T37" fmla="*/ 20 h 1609"/>
                <a:gd name="T38" fmla="*/ 180 w 1683"/>
                <a:gd name="T39" fmla="*/ 32 h 1609"/>
                <a:gd name="T40" fmla="*/ 196 w 1683"/>
                <a:gd name="T41" fmla="*/ 29 h 1609"/>
                <a:gd name="T42" fmla="*/ 717 w 1683"/>
                <a:gd name="T43" fmla="*/ 277 h 1609"/>
                <a:gd name="T44" fmla="*/ 460 w 1683"/>
                <a:gd name="T45" fmla="*/ 15 h 1609"/>
                <a:gd name="T46" fmla="*/ 469 w 1683"/>
                <a:gd name="T47" fmla="*/ 48 h 1609"/>
                <a:gd name="T48" fmla="*/ 418 w 1683"/>
                <a:gd name="T49" fmla="*/ 51 h 1609"/>
                <a:gd name="T50" fmla="*/ 405 w 1683"/>
                <a:gd name="T51" fmla="*/ 53 h 1609"/>
                <a:gd name="T52" fmla="*/ 349 w 1683"/>
                <a:gd name="T53" fmla="*/ 42 h 1609"/>
                <a:gd name="T54" fmla="*/ 297 w 1683"/>
                <a:gd name="T55" fmla="*/ 86 h 1609"/>
                <a:gd name="T56" fmla="*/ 353 w 1683"/>
                <a:gd name="T57" fmla="*/ 79 h 1609"/>
                <a:gd name="T58" fmla="*/ 313 w 1683"/>
                <a:gd name="T59" fmla="*/ 98 h 1609"/>
                <a:gd name="T60" fmla="*/ 271 w 1683"/>
                <a:gd name="T61" fmla="*/ 118 h 1609"/>
                <a:gd name="T62" fmla="*/ 253 w 1683"/>
                <a:gd name="T63" fmla="*/ 101 h 1609"/>
                <a:gd name="T64" fmla="*/ 265 w 1683"/>
                <a:gd name="T65" fmla="*/ 128 h 1609"/>
                <a:gd name="T66" fmla="*/ 188 w 1683"/>
                <a:gd name="T67" fmla="*/ 190 h 1609"/>
                <a:gd name="T68" fmla="*/ 265 w 1683"/>
                <a:gd name="T69" fmla="*/ 178 h 1609"/>
                <a:gd name="T70" fmla="*/ 303 w 1683"/>
                <a:gd name="T71" fmla="*/ 221 h 1609"/>
                <a:gd name="T72" fmla="*/ 315 w 1683"/>
                <a:gd name="T73" fmla="*/ 165 h 1609"/>
                <a:gd name="T74" fmla="*/ 371 w 1683"/>
                <a:gd name="T75" fmla="*/ 231 h 1609"/>
                <a:gd name="T76" fmla="*/ 388 w 1683"/>
                <a:gd name="T77" fmla="*/ 203 h 1609"/>
                <a:gd name="T78" fmla="*/ 452 w 1683"/>
                <a:gd name="T79" fmla="*/ 266 h 1609"/>
                <a:gd name="T80" fmla="*/ 356 w 1683"/>
                <a:gd name="T81" fmla="*/ 261 h 1609"/>
                <a:gd name="T82" fmla="*/ 289 w 1683"/>
                <a:gd name="T83" fmla="*/ 233 h 1609"/>
                <a:gd name="T84" fmla="*/ 157 w 1683"/>
                <a:gd name="T85" fmla="*/ 254 h 1609"/>
                <a:gd name="T86" fmla="*/ 92 w 1683"/>
                <a:gd name="T87" fmla="*/ 360 h 1609"/>
                <a:gd name="T88" fmla="*/ 136 w 1683"/>
                <a:gd name="T89" fmla="*/ 459 h 1609"/>
                <a:gd name="T90" fmla="*/ 253 w 1683"/>
                <a:gd name="T91" fmla="*/ 481 h 1609"/>
                <a:gd name="T92" fmla="*/ 291 w 1683"/>
                <a:gd name="T93" fmla="*/ 558 h 1609"/>
                <a:gd name="T94" fmla="*/ 313 w 1683"/>
                <a:gd name="T95" fmla="*/ 649 h 1609"/>
                <a:gd name="T96" fmla="*/ 434 w 1683"/>
                <a:gd name="T97" fmla="*/ 672 h 1609"/>
                <a:gd name="T98" fmla="*/ 510 w 1683"/>
                <a:gd name="T99" fmla="*/ 593 h 1609"/>
                <a:gd name="T100" fmla="*/ 542 w 1683"/>
                <a:gd name="T101" fmla="*/ 498 h 1609"/>
                <a:gd name="T102" fmla="*/ 559 w 1683"/>
                <a:gd name="T103" fmla="*/ 417 h 1609"/>
                <a:gd name="T104" fmla="*/ 484 w 1683"/>
                <a:gd name="T105" fmla="*/ 344 h 1609"/>
                <a:gd name="T106" fmla="*/ 510 w 1683"/>
                <a:gd name="T107" fmla="*/ 350 h 1609"/>
                <a:gd name="T108" fmla="*/ 617 w 1683"/>
                <a:gd name="T109" fmla="*/ 340 h 1609"/>
                <a:gd name="T110" fmla="*/ 544 w 1683"/>
                <a:gd name="T111" fmla="*/ 274 h 1609"/>
                <a:gd name="T112" fmla="*/ 653 w 1683"/>
                <a:gd name="T113" fmla="*/ 282 h 1609"/>
                <a:gd name="T114" fmla="*/ 708 w 1683"/>
                <a:gd name="T115" fmla="*/ 372 h 1609"/>
                <a:gd name="T116" fmla="*/ 443 w 1683"/>
                <a:gd name="T117" fmla="*/ 190 h 1609"/>
                <a:gd name="T118" fmla="*/ 423 w 1683"/>
                <a:gd name="T119" fmla="*/ 168 h 1609"/>
                <a:gd name="T120" fmla="*/ 469 w 1683"/>
                <a:gd name="T121" fmla="*/ 181 h 1609"/>
                <a:gd name="T122" fmla="*/ 123 w 1683"/>
                <a:gd name="T123" fmla="*/ 89 h 1609"/>
                <a:gd name="T124" fmla="*/ 22 w 1683"/>
                <a:gd name="T125" fmla="*/ 459 h 16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83"/>
                <a:gd name="T190" fmla="*/ 0 h 1609"/>
                <a:gd name="T191" fmla="*/ 1683 w 1683"/>
                <a:gd name="T192" fmla="*/ 1609 h 16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83" h="1609">
                  <a:moveTo>
                    <a:pt x="1008" y="20"/>
                  </a:moveTo>
                  <a:cubicBezTo>
                    <a:pt x="1021" y="27"/>
                    <a:pt x="1028" y="27"/>
                    <a:pt x="1045" y="29"/>
                  </a:cubicBezTo>
                  <a:cubicBezTo>
                    <a:pt x="1035" y="22"/>
                    <a:pt x="1023" y="21"/>
                    <a:pt x="1008" y="20"/>
                  </a:cubicBezTo>
                  <a:close/>
                  <a:moveTo>
                    <a:pt x="1146" y="26"/>
                  </a:moveTo>
                  <a:cubicBezTo>
                    <a:pt x="1143" y="26"/>
                    <a:pt x="1143" y="22"/>
                    <a:pt x="1141" y="21"/>
                  </a:cubicBezTo>
                  <a:cubicBezTo>
                    <a:pt x="1142" y="21"/>
                    <a:pt x="1146" y="24"/>
                    <a:pt x="1147" y="21"/>
                  </a:cubicBezTo>
                  <a:cubicBezTo>
                    <a:pt x="1138" y="19"/>
                    <a:pt x="1136" y="20"/>
                    <a:pt x="1128" y="22"/>
                  </a:cubicBezTo>
                  <a:cubicBezTo>
                    <a:pt x="1134" y="24"/>
                    <a:pt x="1139" y="27"/>
                    <a:pt x="1146" y="26"/>
                  </a:cubicBezTo>
                  <a:close/>
                  <a:moveTo>
                    <a:pt x="1063" y="27"/>
                  </a:moveTo>
                  <a:cubicBezTo>
                    <a:pt x="1057" y="27"/>
                    <a:pt x="1049" y="23"/>
                    <a:pt x="1045" y="25"/>
                  </a:cubicBezTo>
                  <a:cubicBezTo>
                    <a:pt x="1050" y="26"/>
                    <a:pt x="1053" y="31"/>
                    <a:pt x="1059" y="32"/>
                  </a:cubicBezTo>
                  <a:cubicBezTo>
                    <a:pt x="1060" y="30"/>
                    <a:pt x="1063" y="30"/>
                    <a:pt x="1063" y="27"/>
                  </a:cubicBezTo>
                  <a:close/>
                  <a:moveTo>
                    <a:pt x="1157" y="29"/>
                  </a:moveTo>
                  <a:cubicBezTo>
                    <a:pt x="1159" y="30"/>
                    <a:pt x="1161" y="30"/>
                    <a:pt x="1163" y="31"/>
                  </a:cubicBezTo>
                  <a:cubicBezTo>
                    <a:pt x="1163" y="28"/>
                    <a:pt x="1158" y="27"/>
                    <a:pt x="1157" y="29"/>
                  </a:cubicBezTo>
                  <a:close/>
                  <a:moveTo>
                    <a:pt x="966" y="79"/>
                  </a:moveTo>
                  <a:cubicBezTo>
                    <a:pt x="979" y="79"/>
                    <a:pt x="987" y="91"/>
                    <a:pt x="1000" y="85"/>
                  </a:cubicBezTo>
                  <a:cubicBezTo>
                    <a:pt x="983" y="83"/>
                    <a:pt x="971" y="65"/>
                    <a:pt x="984" y="55"/>
                  </a:cubicBezTo>
                  <a:cubicBezTo>
                    <a:pt x="988" y="52"/>
                    <a:pt x="993" y="54"/>
                    <a:pt x="996" y="49"/>
                  </a:cubicBezTo>
                  <a:cubicBezTo>
                    <a:pt x="992" y="41"/>
                    <a:pt x="983" y="46"/>
                    <a:pt x="978" y="50"/>
                  </a:cubicBezTo>
                  <a:cubicBezTo>
                    <a:pt x="970" y="49"/>
                    <a:pt x="966" y="53"/>
                    <a:pt x="962" y="58"/>
                  </a:cubicBezTo>
                  <a:cubicBezTo>
                    <a:pt x="969" y="61"/>
                    <a:pt x="963" y="73"/>
                    <a:pt x="966" y="79"/>
                  </a:cubicBezTo>
                  <a:close/>
                  <a:moveTo>
                    <a:pt x="1026" y="63"/>
                  </a:moveTo>
                  <a:cubicBezTo>
                    <a:pt x="1029" y="64"/>
                    <a:pt x="1031" y="68"/>
                    <a:pt x="1033" y="64"/>
                  </a:cubicBezTo>
                  <a:cubicBezTo>
                    <a:pt x="1032" y="63"/>
                    <a:pt x="1028" y="61"/>
                    <a:pt x="1026" y="63"/>
                  </a:cubicBezTo>
                  <a:close/>
                  <a:moveTo>
                    <a:pt x="1025" y="92"/>
                  </a:moveTo>
                  <a:cubicBezTo>
                    <a:pt x="1021" y="90"/>
                    <a:pt x="1015" y="86"/>
                    <a:pt x="1011" y="88"/>
                  </a:cubicBezTo>
                  <a:cubicBezTo>
                    <a:pt x="1014" y="90"/>
                    <a:pt x="1020" y="94"/>
                    <a:pt x="1025" y="92"/>
                  </a:cubicBezTo>
                  <a:close/>
                  <a:moveTo>
                    <a:pt x="618" y="123"/>
                  </a:moveTo>
                  <a:cubicBezTo>
                    <a:pt x="612" y="123"/>
                    <a:pt x="617" y="119"/>
                    <a:pt x="617" y="117"/>
                  </a:cubicBezTo>
                  <a:cubicBezTo>
                    <a:pt x="614" y="117"/>
                    <a:pt x="614" y="116"/>
                    <a:pt x="614" y="114"/>
                  </a:cubicBezTo>
                  <a:cubicBezTo>
                    <a:pt x="605" y="120"/>
                    <a:pt x="599" y="113"/>
                    <a:pt x="590" y="118"/>
                  </a:cubicBezTo>
                  <a:cubicBezTo>
                    <a:pt x="590" y="117"/>
                    <a:pt x="590" y="115"/>
                    <a:pt x="589" y="115"/>
                  </a:cubicBezTo>
                  <a:cubicBezTo>
                    <a:pt x="588" y="118"/>
                    <a:pt x="582" y="120"/>
                    <a:pt x="580" y="119"/>
                  </a:cubicBezTo>
                  <a:cubicBezTo>
                    <a:pt x="582" y="117"/>
                    <a:pt x="585" y="116"/>
                    <a:pt x="584" y="111"/>
                  </a:cubicBezTo>
                  <a:cubicBezTo>
                    <a:pt x="577" y="113"/>
                    <a:pt x="569" y="115"/>
                    <a:pt x="565" y="119"/>
                  </a:cubicBezTo>
                  <a:cubicBezTo>
                    <a:pt x="568" y="121"/>
                    <a:pt x="572" y="116"/>
                    <a:pt x="574" y="119"/>
                  </a:cubicBezTo>
                  <a:cubicBezTo>
                    <a:pt x="573" y="125"/>
                    <a:pt x="562" y="121"/>
                    <a:pt x="559" y="125"/>
                  </a:cubicBezTo>
                  <a:cubicBezTo>
                    <a:pt x="563" y="124"/>
                    <a:pt x="564" y="126"/>
                    <a:pt x="566" y="129"/>
                  </a:cubicBezTo>
                  <a:cubicBezTo>
                    <a:pt x="563" y="133"/>
                    <a:pt x="556" y="128"/>
                    <a:pt x="555" y="134"/>
                  </a:cubicBezTo>
                  <a:cubicBezTo>
                    <a:pt x="559" y="135"/>
                    <a:pt x="561" y="134"/>
                    <a:pt x="564" y="133"/>
                  </a:cubicBezTo>
                  <a:cubicBezTo>
                    <a:pt x="564" y="137"/>
                    <a:pt x="567" y="137"/>
                    <a:pt x="568" y="140"/>
                  </a:cubicBezTo>
                  <a:cubicBezTo>
                    <a:pt x="584" y="136"/>
                    <a:pt x="608" y="137"/>
                    <a:pt x="618" y="123"/>
                  </a:cubicBezTo>
                  <a:close/>
                  <a:moveTo>
                    <a:pt x="651" y="184"/>
                  </a:moveTo>
                  <a:cubicBezTo>
                    <a:pt x="654" y="184"/>
                    <a:pt x="656" y="182"/>
                    <a:pt x="656" y="178"/>
                  </a:cubicBezTo>
                  <a:cubicBezTo>
                    <a:pt x="653" y="178"/>
                    <a:pt x="651" y="180"/>
                    <a:pt x="651" y="184"/>
                  </a:cubicBezTo>
                  <a:close/>
                  <a:moveTo>
                    <a:pt x="635" y="196"/>
                  </a:moveTo>
                  <a:cubicBezTo>
                    <a:pt x="634" y="194"/>
                    <a:pt x="634" y="192"/>
                    <a:pt x="633" y="191"/>
                  </a:cubicBezTo>
                  <a:cubicBezTo>
                    <a:pt x="631" y="192"/>
                    <a:pt x="631" y="196"/>
                    <a:pt x="635" y="196"/>
                  </a:cubicBezTo>
                  <a:close/>
                  <a:moveTo>
                    <a:pt x="604" y="197"/>
                  </a:moveTo>
                  <a:cubicBezTo>
                    <a:pt x="601" y="200"/>
                    <a:pt x="595" y="199"/>
                    <a:pt x="595" y="204"/>
                  </a:cubicBezTo>
                  <a:cubicBezTo>
                    <a:pt x="601" y="205"/>
                    <a:pt x="606" y="201"/>
                    <a:pt x="604" y="197"/>
                  </a:cubicBezTo>
                  <a:close/>
                  <a:moveTo>
                    <a:pt x="595" y="213"/>
                  </a:moveTo>
                  <a:cubicBezTo>
                    <a:pt x="599" y="213"/>
                    <a:pt x="599" y="210"/>
                    <a:pt x="599" y="207"/>
                  </a:cubicBezTo>
                  <a:cubicBezTo>
                    <a:pt x="595" y="207"/>
                    <a:pt x="593" y="211"/>
                    <a:pt x="595" y="213"/>
                  </a:cubicBezTo>
                  <a:close/>
                  <a:moveTo>
                    <a:pt x="280" y="210"/>
                  </a:moveTo>
                  <a:cubicBezTo>
                    <a:pt x="262" y="220"/>
                    <a:pt x="248" y="231"/>
                    <a:pt x="232" y="242"/>
                  </a:cubicBezTo>
                  <a:cubicBezTo>
                    <a:pt x="234" y="251"/>
                    <a:pt x="231" y="253"/>
                    <a:pt x="227" y="259"/>
                  </a:cubicBezTo>
                  <a:cubicBezTo>
                    <a:pt x="232" y="260"/>
                    <a:pt x="226" y="264"/>
                    <a:pt x="227" y="266"/>
                  </a:cubicBezTo>
                  <a:cubicBezTo>
                    <a:pt x="232" y="265"/>
                    <a:pt x="235" y="261"/>
                    <a:pt x="239" y="258"/>
                  </a:cubicBezTo>
                  <a:cubicBezTo>
                    <a:pt x="241" y="246"/>
                    <a:pt x="254" y="245"/>
                    <a:pt x="258" y="235"/>
                  </a:cubicBezTo>
                  <a:cubicBezTo>
                    <a:pt x="257" y="234"/>
                    <a:pt x="255" y="238"/>
                    <a:pt x="255" y="235"/>
                  </a:cubicBezTo>
                  <a:cubicBezTo>
                    <a:pt x="261" y="225"/>
                    <a:pt x="272" y="219"/>
                    <a:pt x="280" y="210"/>
                  </a:cubicBezTo>
                  <a:close/>
                  <a:moveTo>
                    <a:pt x="252" y="214"/>
                  </a:moveTo>
                  <a:cubicBezTo>
                    <a:pt x="250" y="216"/>
                    <a:pt x="245" y="220"/>
                    <a:pt x="248" y="224"/>
                  </a:cubicBezTo>
                  <a:cubicBezTo>
                    <a:pt x="250" y="221"/>
                    <a:pt x="254" y="217"/>
                    <a:pt x="252" y="214"/>
                  </a:cubicBezTo>
                  <a:close/>
                  <a:moveTo>
                    <a:pt x="520" y="272"/>
                  </a:moveTo>
                  <a:cubicBezTo>
                    <a:pt x="521" y="276"/>
                    <a:pt x="521" y="277"/>
                    <a:pt x="522" y="280"/>
                  </a:cubicBezTo>
                  <a:cubicBezTo>
                    <a:pt x="540" y="274"/>
                    <a:pt x="569" y="277"/>
                    <a:pt x="570" y="252"/>
                  </a:cubicBezTo>
                  <a:cubicBezTo>
                    <a:pt x="576" y="249"/>
                    <a:pt x="586" y="246"/>
                    <a:pt x="582" y="235"/>
                  </a:cubicBezTo>
                  <a:cubicBezTo>
                    <a:pt x="572" y="230"/>
                    <a:pt x="564" y="233"/>
                    <a:pt x="556" y="239"/>
                  </a:cubicBezTo>
                  <a:cubicBezTo>
                    <a:pt x="556" y="241"/>
                    <a:pt x="557" y="241"/>
                    <a:pt x="557" y="243"/>
                  </a:cubicBezTo>
                  <a:cubicBezTo>
                    <a:pt x="554" y="243"/>
                    <a:pt x="554" y="245"/>
                    <a:pt x="551" y="245"/>
                  </a:cubicBezTo>
                  <a:cubicBezTo>
                    <a:pt x="549" y="244"/>
                    <a:pt x="549" y="241"/>
                    <a:pt x="546" y="242"/>
                  </a:cubicBezTo>
                  <a:cubicBezTo>
                    <a:pt x="542" y="246"/>
                    <a:pt x="538" y="250"/>
                    <a:pt x="536" y="255"/>
                  </a:cubicBezTo>
                  <a:cubicBezTo>
                    <a:pt x="536" y="258"/>
                    <a:pt x="540" y="256"/>
                    <a:pt x="540" y="259"/>
                  </a:cubicBezTo>
                  <a:cubicBezTo>
                    <a:pt x="532" y="263"/>
                    <a:pt x="527" y="268"/>
                    <a:pt x="520" y="272"/>
                  </a:cubicBezTo>
                  <a:close/>
                  <a:moveTo>
                    <a:pt x="591" y="247"/>
                  </a:moveTo>
                  <a:cubicBezTo>
                    <a:pt x="588" y="244"/>
                    <a:pt x="585" y="248"/>
                    <a:pt x="585" y="251"/>
                  </a:cubicBezTo>
                  <a:cubicBezTo>
                    <a:pt x="588" y="251"/>
                    <a:pt x="589" y="249"/>
                    <a:pt x="591" y="247"/>
                  </a:cubicBezTo>
                  <a:close/>
                  <a:moveTo>
                    <a:pt x="212" y="259"/>
                  </a:moveTo>
                  <a:cubicBezTo>
                    <a:pt x="216" y="258"/>
                    <a:pt x="220" y="253"/>
                    <a:pt x="219" y="251"/>
                  </a:cubicBezTo>
                  <a:cubicBezTo>
                    <a:pt x="218" y="254"/>
                    <a:pt x="213" y="255"/>
                    <a:pt x="212" y="259"/>
                  </a:cubicBezTo>
                  <a:close/>
                  <a:moveTo>
                    <a:pt x="673" y="447"/>
                  </a:moveTo>
                  <a:cubicBezTo>
                    <a:pt x="678" y="442"/>
                    <a:pt x="685" y="428"/>
                    <a:pt x="678" y="420"/>
                  </a:cubicBezTo>
                  <a:cubicBezTo>
                    <a:pt x="670" y="427"/>
                    <a:pt x="664" y="431"/>
                    <a:pt x="666" y="444"/>
                  </a:cubicBezTo>
                  <a:cubicBezTo>
                    <a:pt x="669" y="445"/>
                    <a:pt x="669" y="448"/>
                    <a:pt x="673" y="447"/>
                  </a:cubicBezTo>
                  <a:close/>
                  <a:moveTo>
                    <a:pt x="654" y="488"/>
                  </a:moveTo>
                  <a:cubicBezTo>
                    <a:pt x="663" y="487"/>
                    <a:pt x="664" y="483"/>
                    <a:pt x="671" y="485"/>
                  </a:cubicBezTo>
                  <a:cubicBezTo>
                    <a:pt x="677" y="471"/>
                    <a:pt x="685" y="438"/>
                    <a:pt x="663" y="454"/>
                  </a:cubicBezTo>
                  <a:cubicBezTo>
                    <a:pt x="660" y="453"/>
                    <a:pt x="658" y="450"/>
                    <a:pt x="656" y="452"/>
                  </a:cubicBezTo>
                  <a:cubicBezTo>
                    <a:pt x="654" y="456"/>
                    <a:pt x="658" y="457"/>
                    <a:pt x="658" y="461"/>
                  </a:cubicBezTo>
                  <a:cubicBezTo>
                    <a:pt x="658" y="469"/>
                    <a:pt x="651" y="479"/>
                    <a:pt x="654" y="488"/>
                  </a:cubicBezTo>
                  <a:close/>
                  <a:moveTo>
                    <a:pt x="602" y="468"/>
                  </a:moveTo>
                  <a:cubicBezTo>
                    <a:pt x="603" y="464"/>
                    <a:pt x="597" y="462"/>
                    <a:pt x="594" y="465"/>
                  </a:cubicBezTo>
                  <a:cubicBezTo>
                    <a:pt x="595" y="468"/>
                    <a:pt x="599" y="471"/>
                    <a:pt x="602" y="468"/>
                  </a:cubicBezTo>
                  <a:close/>
                  <a:moveTo>
                    <a:pt x="590" y="468"/>
                  </a:moveTo>
                  <a:cubicBezTo>
                    <a:pt x="587" y="463"/>
                    <a:pt x="577" y="465"/>
                    <a:pt x="575" y="470"/>
                  </a:cubicBezTo>
                  <a:cubicBezTo>
                    <a:pt x="578" y="477"/>
                    <a:pt x="590" y="478"/>
                    <a:pt x="590" y="468"/>
                  </a:cubicBezTo>
                  <a:close/>
                  <a:moveTo>
                    <a:pt x="880" y="468"/>
                  </a:moveTo>
                  <a:cubicBezTo>
                    <a:pt x="879" y="472"/>
                    <a:pt x="883" y="470"/>
                    <a:pt x="884" y="470"/>
                  </a:cubicBezTo>
                  <a:cubicBezTo>
                    <a:pt x="885" y="468"/>
                    <a:pt x="881" y="467"/>
                    <a:pt x="880" y="468"/>
                  </a:cubicBezTo>
                  <a:close/>
                  <a:moveTo>
                    <a:pt x="900" y="474"/>
                  </a:moveTo>
                  <a:cubicBezTo>
                    <a:pt x="898" y="473"/>
                    <a:pt x="894" y="473"/>
                    <a:pt x="893" y="474"/>
                  </a:cubicBezTo>
                  <a:cubicBezTo>
                    <a:pt x="892" y="480"/>
                    <a:pt x="900" y="479"/>
                    <a:pt x="900" y="474"/>
                  </a:cubicBezTo>
                  <a:close/>
                  <a:moveTo>
                    <a:pt x="563" y="477"/>
                  </a:moveTo>
                  <a:cubicBezTo>
                    <a:pt x="561" y="477"/>
                    <a:pt x="560" y="477"/>
                    <a:pt x="559" y="476"/>
                  </a:cubicBezTo>
                  <a:cubicBezTo>
                    <a:pt x="558" y="478"/>
                    <a:pt x="555" y="480"/>
                    <a:pt x="557" y="483"/>
                  </a:cubicBezTo>
                  <a:cubicBezTo>
                    <a:pt x="560" y="482"/>
                    <a:pt x="563" y="481"/>
                    <a:pt x="563" y="477"/>
                  </a:cubicBezTo>
                  <a:close/>
                  <a:moveTo>
                    <a:pt x="826" y="506"/>
                  </a:moveTo>
                  <a:cubicBezTo>
                    <a:pt x="828" y="507"/>
                    <a:pt x="832" y="508"/>
                    <a:pt x="834" y="506"/>
                  </a:cubicBezTo>
                  <a:cubicBezTo>
                    <a:pt x="834" y="501"/>
                    <a:pt x="825" y="499"/>
                    <a:pt x="826" y="506"/>
                  </a:cubicBezTo>
                  <a:close/>
                  <a:moveTo>
                    <a:pt x="830" y="510"/>
                  </a:moveTo>
                  <a:cubicBezTo>
                    <a:pt x="830" y="515"/>
                    <a:pt x="830" y="515"/>
                    <a:pt x="830" y="515"/>
                  </a:cubicBezTo>
                  <a:cubicBezTo>
                    <a:pt x="835" y="519"/>
                    <a:pt x="836" y="510"/>
                    <a:pt x="832" y="509"/>
                  </a:cubicBezTo>
                  <a:cubicBezTo>
                    <a:pt x="831" y="510"/>
                    <a:pt x="831" y="510"/>
                    <a:pt x="830" y="510"/>
                  </a:cubicBezTo>
                  <a:close/>
                  <a:moveTo>
                    <a:pt x="892" y="511"/>
                  </a:moveTo>
                  <a:cubicBezTo>
                    <a:pt x="895" y="513"/>
                    <a:pt x="895" y="518"/>
                    <a:pt x="899" y="515"/>
                  </a:cubicBezTo>
                  <a:cubicBezTo>
                    <a:pt x="900" y="511"/>
                    <a:pt x="893" y="507"/>
                    <a:pt x="892" y="511"/>
                  </a:cubicBezTo>
                  <a:close/>
                  <a:moveTo>
                    <a:pt x="922" y="511"/>
                  </a:moveTo>
                  <a:cubicBezTo>
                    <a:pt x="922" y="512"/>
                    <a:pt x="920" y="513"/>
                    <a:pt x="921" y="515"/>
                  </a:cubicBezTo>
                  <a:cubicBezTo>
                    <a:pt x="922" y="516"/>
                    <a:pt x="925" y="516"/>
                    <a:pt x="927" y="515"/>
                  </a:cubicBezTo>
                  <a:cubicBezTo>
                    <a:pt x="926" y="512"/>
                    <a:pt x="925" y="510"/>
                    <a:pt x="922" y="511"/>
                  </a:cubicBezTo>
                  <a:close/>
                  <a:moveTo>
                    <a:pt x="915" y="515"/>
                  </a:moveTo>
                  <a:cubicBezTo>
                    <a:pt x="912" y="514"/>
                    <a:pt x="911" y="515"/>
                    <a:pt x="911" y="518"/>
                  </a:cubicBezTo>
                  <a:cubicBezTo>
                    <a:pt x="915" y="518"/>
                    <a:pt x="915" y="518"/>
                    <a:pt x="915" y="518"/>
                  </a:cubicBezTo>
                  <a:lnTo>
                    <a:pt x="915" y="515"/>
                  </a:lnTo>
                  <a:close/>
                  <a:moveTo>
                    <a:pt x="890" y="517"/>
                  </a:moveTo>
                  <a:cubicBezTo>
                    <a:pt x="889" y="516"/>
                    <a:pt x="886" y="514"/>
                    <a:pt x="884" y="516"/>
                  </a:cubicBezTo>
                  <a:cubicBezTo>
                    <a:pt x="884" y="518"/>
                    <a:pt x="885" y="519"/>
                    <a:pt x="885" y="519"/>
                  </a:cubicBezTo>
                  <a:cubicBezTo>
                    <a:pt x="888" y="519"/>
                    <a:pt x="889" y="519"/>
                    <a:pt x="890" y="517"/>
                  </a:cubicBezTo>
                  <a:close/>
                  <a:moveTo>
                    <a:pt x="923" y="522"/>
                  </a:moveTo>
                  <a:cubicBezTo>
                    <a:pt x="925" y="522"/>
                    <a:pt x="927" y="522"/>
                    <a:pt x="927" y="519"/>
                  </a:cubicBezTo>
                  <a:cubicBezTo>
                    <a:pt x="924" y="519"/>
                    <a:pt x="923" y="520"/>
                    <a:pt x="923" y="522"/>
                  </a:cubicBezTo>
                  <a:close/>
                  <a:moveTo>
                    <a:pt x="908" y="527"/>
                  </a:moveTo>
                  <a:cubicBezTo>
                    <a:pt x="910" y="522"/>
                    <a:pt x="906" y="522"/>
                    <a:pt x="903" y="521"/>
                  </a:cubicBezTo>
                  <a:cubicBezTo>
                    <a:pt x="901" y="523"/>
                    <a:pt x="902" y="526"/>
                    <a:pt x="903" y="528"/>
                  </a:cubicBezTo>
                  <a:cubicBezTo>
                    <a:pt x="905" y="528"/>
                    <a:pt x="907" y="528"/>
                    <a:pt x="908" y="527"/>
                  </a:cubicBezTo>
                  <a:close/>
                  <a:moveTo>
                    <a:pt x="929" y="531"/>
                  </a:moveTo>
                  <a:cubicBezTo>
                    <a:pt x="933" y="531"/>
                    <a:pt x="936" y="529"/>
                    <a:pt x="936" y="524"/>
                  </a:cubicBezTo>
                  <a:cubicBezTo>
                    <a:pt x="931" y="524"/>
                    <a:pt x="928" y="525"/>
                    <a:pt x="929" y="531"/>
                  </a:cubicBezTo>
                  <a:close/>
                  <a:moveTo>
                    <a:pt x="916" y="534"/>
                  </a:moveTo>
                  <a:cubicBezTo>
                    <a:pt x="920" y="537"/>
                    <a:pt x="926" y="533"/>
                    <a:pt x="920" y="531"/>
                  </a:cubicBezTo>
                  <a:cubicBezTo>
                    <a:pt x="920" y="533"/>
                    <a:pt x="916" y="531"/>
                    <a:pt x="916" y="534"/>
                  </a:cubicBezTo>
                  <a:close/>
                  <a:moveTo>
                    <a:pt x="898" y="536"/>
                  </a:moveTo>
                  <a:cubicBezTo>
                    <a:pt x="898" y="535"/>
                    <a:pt x="898" y="535"/>
                    <a:pt x="899" y="535"/>
                  </a:cubicBezTo>
                  <a:cubicBezTo>
                    <a:pt x="899" y="533"/>
                    <a:pt x="899" y="533"/>
                    <a:pt x="899" y="533"/>
                  </a:cubicBezTo>
                  <a:cubicBezTo>
                    <a:pt x="898" y="533"/>
                    <a:pt x="898" y="533"/>
                    <a:pt x="898" y="532"/>
                  </a:cubicBezTo>
                  <a:cubicBezTo>
                    <a:pt x="896" y="532"/>
                    <a:pt x="896" y="532"/>
                    <a:pt x="896" y="532"/>
                  </a:cubicBezTo>
                  <a:cubicBezTo>
                    <a:pt x="896" y="532"/>
                    <a:pt x="896" y="533"/>
                    <a:pt x="895" y="533"/>
                  </a:cubicBezTo>
                  <a:cubicBezTo>
                    <a:pt x="895" y="535"/>
                    <a:pt x="895" y="535"/>
                    <a:pt x="895" y="535"/>
                  </a:cubicBezTo>
                  <a:cubicBezTo>
                    <a:pt x="896" y="535"/>
                    <a:pt x="896" y="535"/>
                    <a:pt x="896" y="536"/>
                  </a:cubicBezTo>
                  <a:lnTo>
                    <a:pt x="898" y="536"/>
                  </a:lnTo>
                  <a:close/>
                  <a:moveTo>
                    <a:pt x="948" y="535"/>
                  </a:moveTo>
                  <a:cubicBezTo>
                    <a:pt x="942" y="531"/>
                    <a:pt x="937" y="543"/>
                    <a:pt x="943" y="545"/>
                  </a:cubicBezTo>
                  <a:cubicBezTo>
                    <a:pt x="945" y="542"/>
                    <a:pt x="948" y="540"/>
                    <a:pt x="948" y="535"/>
                  </a:cubicBezTo>
                  <a:close/>
                  <a:moveTo>
                    <a:pt x="738" y="546"/>
                  </a:moveTo>
                  <a:cubicBezTo>
                    <a:pt x="742" y="530"/>
                    <a:pt x="721" y="544"/>
                    <a:pt x="738" y="546"/>
                  </a:cubicBezTo>
                  <a:close/>
                  <a:moveTo>
                    <a:pt x="871" y="540"/>
                  </a:moveTo>
                  <a:cubicBezTo>
                    <a:pt x="870" y="538"/>
                    <a:pt x="866" y="538"/>
                    <a:pt x="864" y="539"/>
                  </a:cubicBezTo>
                  <a:cubicBezTo>
                    <a:pt x="863" y="543"/>
                    <a:pt x="871" y="543"/>
                    <a:pt x="871" y="540"/>
                  </a:cubicBezTo>
                  <a:close/>
                  <a:moveTo>
                    <a:pt x="931" y="546"/>
                  </a:moveTo>
                  <a:cubicBezTo>
                    <a:pt x="931" y="549"/>
                    <a:pt x="928" y="555"/>
                    <a:pt x="933" y="555"/>
                  </a:cubicBezTo>
                  <a:cubicBezTo>
                    <a:pt x="937" y="554"/>
                    <a:pt x="935" y="546"/>
                    <a:pt x="931" y="546"/>
                  </a:cubicBezTo>
                  <a:close/>
                  <a:moveTo>
                    <a:pt x="1040" y="559"/>
                  </a:moveTo>
                  <a:cubicBezTo>
                    <a:pt x="1041" y="555"/>
                    <a:pt x="1041" y="550"/>
                    <a:pt x="1043" y="546"/>
                  </a:cubicBezTo>
                  <a:cubicBezTo>
                    <a:pt x="1033" y="551"/>
                    <a:pt x="1019" y="551"/>
                    <a:pt x="1011" y="557"/>
                  </a:cubicBezTo>
                  <a:cubicBezTo>
                    <a:pt x="1017" y="570"/>
                    <a:pt x="1029" y="563"/>
                    <a:pt x="1040" y="559"/>
                  </a:cubicBezTo>
                  <a:close/>
                  <a:moveTo>
                    <a:pt x="879" y="557"/>
                  </a:moveTo>
                  <a:cubicBezTo>
                    <a:pt x="888" y="556"/>
                    <a:pt x="895" y="564"/>
                    <a:pt x="901" y="564"/>
                  </a:cubicBezTo>
                  <a:cubicBezTo>
                    <a:pt x="907" y="565"/>
                    <a:pt x="915" y="562"/>
                    <a:pt x="921" y="560"/>
                  </a:cubicBezTo>
                  <a:cubicBezTo>
                    <a:pt x="921" y="557"/>
                    <a:pt x="921" y="557"/>
                    <a:pt x="921" y="557"/>
                  </a:cubicBezTo>
                  <a:cubicBezTo>
                    <a:pt x="909" y="556"/>
                    <a:pt x="890" y="552"/>
                    <a:pt x="880" y="550"/>
                  </a:cubicBezTo>
                  <a:cubicBezTo>
                    <a:pt x="877" y="551"/>
                    <a:pt x="878" y="554"/>
                    <a:pt x="879" y="557"/>
                  </a:cubicBezTo>
                  <a:close/>
                  <a:moveTo>
                    <a:pt x="1674" y="879"/>
                  </a:moveTo>
                  <a:cubicBezTo>
                    <a:pt x="1683" y="865"/>
                    <a:pt x="1681" y="833"/>
                    <a:pt x="1670" y="822"/>
                  </a:cubicBezTo>
                  <a:cubicBezTo>
                    <a:pt x="1671" y="839"/>
                    <a:pt x="1667" y="864"/>
                    <a:pt x="1674" y="879"/>
                  </a:cubicBezTo>
                  <a:close/>
                  <a:moveTo>
                    <a:pt x="1346" y="1324"/>
                  </a:moveTo>
                  <a:cubicBezTo>
                    <a:pt x="1340" y="1316"/>
                    <a:pt x="1334" y="1319"/>
                    <a:pt x="1330" y="1326"/>
                  </a:cubicBezTo>
                  <a:cubicBezTo>
                    <a:pt x="1326" y="1332"/>
                    <a:pt x="1326" y="1337"/>
                    <a:pt x="1319" y="1342"/>
                  </a:cubicBezTo>
                  <a:cubicBezTo>
                    <a:pt x="1316" y="1344"/>
                    <a:pt x="1314" y="1344"/>
                    <a:pt x="1311" y="1347"/>
                  </a:cubicBezTo>
                  <a:cubicBezTo>
                    <a:pt x="1310" y="1350"/>
                    <a:pt x="1310" y="1355"/>
                    <a:pt x="1307" y="1357"/>
                  </a:cubicBezTo>
                  <a:cubicBezTo>
                    <a:pt x="1299" y="1352"/>
                    <a:pt x="1299" y="1365"/>
                    <a:pt x="1294" y="1369"/>
                  </a:cubicBezTo>
                  <a:cubicBezTo>
                    <a:pt x="1293" y="1369"/>
                    <a:pt x="1294" y="1366"/>
                    <a:pt x="1290" y="1367"/>
                  </a:cubicBezTo>
                  <a:cubicBezTo>
                    <a:pt x="1290" y="1370"/>
                    <a:pt x="1289" y="1373"/>
                    <a:pt x="1288" y="1375"/>
                  </a:cubicBezTo>
                  <a:cubicBezTo>
                    <a:pt x="1274" y="1380"/>
                    <a:pt x="1261" y="1387"/>
                    <a:pt x="1246" y="1392"/>
                  </a:cubicBezTo>
                  <a:cubicBezTo>
                    <a:pt x="1245" y="1399"/>
                    <a:pt x="1239" y="1403"/>
                    <a:pt x="1234" y="1406"/>
                  </a:cubicBezTo>
                  <a:cubicBezTo>
                    <a:pt x="1229" y="1419"/>
                    <a:pt x="1234" y="1431"/>
                    <a:pt x="1228" y="1440"/>
                  </a:cubicBezTo>
                  <a:cubicBezTo>
                    <a:pt x="1222" y="1449"/>
                    <a:pt x="1206" y="1451"/>
                    <a:pt x="1200" y="1461"/>
                  </a:cubicBezTo>
                  <a:cubicBezTo>
                    <a:pt x="1196" y="1468"/>
                    <a:pt x="1195" y="1479"/>
                    <a:pt x="1200" y="1486"/>
                  </a:cubicBezTo>
                  <a:cubicBezTo>
                    <a:pt x="1199" y="1488"/>
                    <a:pt x="1197" y="1489"/>
                    <a:pt x="1196" y="1492"/>
                  </a:cubicBezTo>
                  <a:cubicBezTo>
                    <a:pt x="1210" y="1500"/>
                    <a:pt x="1225" y="1491"/>
                    <a:pt x="1237" y="1484"/>
                  </a:cubicBezTo>
                  <a:cubicBezTo>
                    <a:pt x="1249" y="1477"/>
                    <a:pt x="1252" y="1470"/>
                    <a:pt x="1258" y="1461"/>
                  </a:cubicBezTo>
                  <a:cubicBezTo>
                    <a:pt x="1266" y="1449"/>
                    <a:pt x="1279" y="1438"/>
                    <a:pt x="1290" y="1426"/>
                  </a:cubicBezTo>
                  <a:cubicBezTo>
                    <a:pt x="1303" y="1412"/>
                    <a:pt x="1321" y="1396"/>
                    <a:pt x="1320" y="1379"/>
                  </a:cubicBezTo>
                  <a:cubicBezTo>
                    <a:pt x="1329" y="1372"/>
                    <a:pt x="1331" y="1358"/>
                    <a:pt x="1346" y="1357"/>
                  </a:cubicBezTo>
                  <a:cubicBezTo>
                    <a:pt x="1347" y="1353"/>
                    <a:pt x="1345" y="1350"/>
                    <a:pt x="1343" y="1348"/>
                  </a:cubicBezTo>
                  <a:cubicBezTo>
                    <a:pt x="1345" y="1344"/>
                    <a:pt x="1348" y="1342"/>
                    <a:pt x="1349" y="1337"/>
                  </a:cubicBezTo>
                  <a:cubicBezTo>
                    <a:pt x="1346" y="1333"/>
                    <a:pt x="1345" y="1330"/>
                    <a:pt x="1346" y="1324"/>
                  </a:cubicBezTo>
                  <a:close/>
                  <a:moveTo>
                    <a:pt x="543" y="30"/>
                  </a:moveTo>
                  <a:cubicBezTo>
                    <a:pt x="549" y="31"/>
                    <a:pt x="558" y="29"/>
                    <a:pt x="561" y="24"/>
                  </a:cubicBezTo>
                  <a:cubicBezTo>
                    <a:pt x="559" y="23"/>
                    <a:pt x="555" y="25"/>
                    <a:pt x="555" y="23"/>
                  </a:cubicBezTo>
                  <a:cubicBezTo>
                    <a:pt x="557" y="20"/>
                    <a:pt x="562" y="20"/>
                    <a:pt x="565" y="18"/>
                  </a:cubicBezTo>
                  <a:cubicBezTo>
                    <a:pt x="566" y="22"/>
                    <a:pt x="567" y="23"/>
                    <a:pt x="567" y="25"/>
                  </a:cubicBezTo>
                  <a:cubicBezTo>
                    <a:pt x="591" y="20"/>
                    <a:pt x="609" y="13"/>
                    <a:pt x="635" y="14"/>
                  </a:cubicBezTo>
                  <a:cubicBezTo>
                    <a:pt x="628" y="14"/>
                    <a:pt x="628" y="14"/>
                    <a:pt x="628" y="14"/>
                  </a:cubicBezTo>
                  <a:cubicBezTo>
                    <a:pt x="619" y="24"/>
                    <a:pt x="601" y="16"/>
                    <a:pt x="593" y="22"/>
                  </a:cubicBezTo>
                  <a:cubicBezTo>
                    <a:pt x="592" y="24"/>
                    <a:pt x="595" y="25"/>
                    <a:pt x="593" y="26"/>
                  </a:cubicBezTo>
                  <a:cubicBezTo>
                    <a:pt x="591" y="26"/>
                    <a:pt x="590" y="24"/>
                    <a:pt x="589" y="23"/>
                  </a:cubicBezTo>
                  <a:cubicBezTo>
                    <a:pt x="584" y="25"/>
                    <a:pt x="579" y="26"/>
                    <a:pt x="576" y="31"/>
                  </a:cubicBezTo>
                  <a:cubicBezTo>
                    <a:pt x="580" y="32"/>
                    <a:pt x="584" y="29"/>
                    <a:pt x="586" y="34"/>
                  </a:cubicBezTo>
                  <a:cubicBezTo>
                    <a:pt x="573" y="46"/>
                    <a:pt x="553" y="51"/>
                    <a:pt x="537" y="59"/>
                  </a:cubicBezTo>
                  <a:cubicBezTo>
                    <a:pt x="541" y="61"/>
                    <a:pt x="545" y="57"/>
                    <a:pt x="546" y="59"/>
                  </a:cubicBezTo>
                  <a:cubicBezTo>
                    <a:pt x="542" y="61"/>
                    <a:pt x="540" y="65"/>
                    <a:pt x="534" y="66"/>
                  </a:cubicBezTo>
                  <a:cubicBezTo>
                    <a:pt x="534" y="62"/>
                    <a:pt x="534" y="62"/>
                    <a:pt x="534" y="62"/>
                  </a:cubicBezTo>
                  <a:cubicBezTo>
                    <a:pt x="528" y="61"/>
                    <a:pt x="525" y="67"/>
                    <a:pt x="527" y="71"/>
                  </a:cubicBezTo>
                  <a:cubicBezTo>
                    <a:pt x="521" y="74"/>
                    <a:pt x="515" y="77"/>
                    <a:pt x="508" y="79"/>
                  </a:cubicBezTo>
                  <a:cubicBezTo>
                    <a:pt x="508" y="77"/>
                    <a:pt x="510" y="77"/>
                    <a:pt x="507" y="77"/>
                  </a:cubicBezTo>
                  <a:cubicBezTo>
                    <a:pt x="503" y="77"/>
                    <a:pt x="503" y="80"/>
                    <a:pt x="499" y="81"/>
                  </a:cubicBezTo>
                  <a:cubicBezTo>
                    <a:pt x="479" y="84"/>
                    <a:pt x="469" y="99"/>
                    <a:pt x="452" y="107"/>
                  </a:cubicBezTo>
                  <a:cubicBezTo>
                    <a:pt x="456" y="107"/>
                    <a:pt x="458" y="102"/>
                    <a:pt x="461" y="106"/>
                  </a:cubicBezTo>
                  <a:cubicBezTo>
                    <a:pt x="441" y="111"/>
                    <a:pt x="429" y="123"/>
                    <a:pt x="419" y="138"/>
                  </a:cubicBezTo>
                  <a:cubicBezTo>
                    <a:pt x="422" y="140"/>
                    <a:pt x="423" y="138"/>
                    <a:pt x="426" y="137"/>
                  </a:cubicBezTo>
                  <a:cubicBezTo>
                    <a:pt x="423" y="141"/>
                    <a:pt x="417" y="144"/>
                    <a:pt x="418" y="149"/>
                  </a:cubicBezTo>
                  <a:cubicBezTo>
                    <a:pt x="438" y="144"/>
                    <a:pt x="451" y="129"/>
                    <a:pt x="469" y="123"/>
                  </a:cubicBezTo>
                  <a:cubicBezTo>
                    <a:pt x="476" y="120"/>
                    <a:pt x="483" y="118"/>
                    <a:pt x="490" y="114"/>
                  </a:cubicBezTo>
                  <a:cubicBezTo>
                    <a:pt x="490" y="112"/>
                    <a:pt x="492" y="111"/>
                    <a:pt x="494" y="110"/>
                  </a:cubicBezTo>
                  <a:cubicBezTo>
                    <a:pt x="515" y="109"/>
                    <a:pt x="539" y="103"/>
                    <a:pt x="564" y="92"/>
                  </a:cubicBezTo>
                  <a:cubicBezTo>
                    <a:pt x="562" y="94"/>
                    <a:pt x="564" y="93"/>
                    <a:pt x="565" y="95"/>
                  </a:cubicBezTo>
                  <a:cubicBezTo>
                    <a:pt x="585" y="94"/>
                    <a:pt x="601" y="89"/>
                    <a:pt x="619" y="85"/>
                  </a:cubicBezTo>
                  <a:cubicBezTo>
                    <a:pt x="618" y="82"/>
                    <a:pt x="614" y="82"/>
                    <a:pt x="612" y="80"/>
                  </a:cubicBezTo>
                  <a:cubicBezTo>
                    <a:pt x="616" y="79"/>
                    <a:pt x="616" y="74"/>
                    <a:pt x="622" y="75"/>
                  </a:cubicBezTo>
                  <a:cubicBezTo>
                    <a:pt x="622" y="77"/>
                    <a:pt x="619" y="77"/>
                    <a:pt x="618" y="80"/>
                  </a:cubicBezTo>
                  <a:cubicBezTo>
                    <a:pt x="627" y="89"/>
                    <a:pt x="641" y="68"/>
                    <a:pt x="631" y="63"/>
                  </a:cubicBezTo>
                  <a:cubicBezTo>
                    <a:pt x="634" y="62"/>
                    <a:pt x="637" y="64"/>
                    <a:pt x="641" y="62"/>
                  </a:cubicBezTo>
                  <a:cubicBezTo>
                    <a:pt x="643" y="63"/>
                    <a:pt x="642" y="67"/>
                    <a:pt x="645" y="67"/>
                  </a:cubicBezTo>
                  <a:cubicBezTo>
                    <a:pt x="648" y="62"/>
                    <a:pt x="652" y="64"/>
                    <a:pt x="659" y="63"/>
                  </a:cubicBezTo>
                  <a:cubicBezTo>
                    <a:pt x="660" y="56"/>
                    <a:pt x="669" y="62"/>
                    <a:pt x="672" y="57"/>
                  </a:cubicBezTo>
                  <a:cubicBezTo>
                    <a:pt x="671" y="56"/>
                    <a:pt x="669" y="56"/>
                    <a:pt x="669" y="54"/>
                  </a:cubicBezTo>
                  <a:cubicBezTo>
                    <a:pt x="672" y="51"/>
                    <a:pt x="673" y="53"/>
                    <a:pt x="676" y="54"/>
                  </a:cubicBezTo>
                  <a:cubicBezTo>
                    <a:pt x="678" y="52"/>
                    <a:pt x="679" y="51"/>
                    <a:pt x="681" y="50"/>
                  </a:cubicBezTo>
                  <a:cubicBezTo>
                    <a:pt x="682" y="46"/>
                    <a:pt x="678" y="47"/>
                    <a:pt x="679" y="44"/>
                  </a:cubicBezTo>
                  <a:cubicBezTo>
                    <a:pt x="687" y="44"/>
                    <a:pt x="691" y="46"/>
                    <a:pt x="696" y="43"/>
                  </a:cubicBezTo>
                  <a:cubicBezTo>
                    <a:pt x="698" y="40"/>
                    <a:pt x="693" y="43"/>
                    <a:pt x="693" y="40"/>
                  </a:cubicBezTo>
                  <a:cubicBezTo>
                    <a:pt x="704" y="32"/>
                    <a:pt x="724" y="28"/>
                    <a:pt x="740" y="25"/>
                  </a:cubicBezTo>
                  <a:cubicBezTo>
                    <a:pt x="736" y="19"/>
                    <a:pt x="724" y="24"/>
                    <a:pt x="718" y="23"/>
                  </a:cubicBezTo>
                  <a:cubicBezTo>
                    <a:pt x="718" y="19"/>
                    <a:pt x="724" y="21"/>
                    <a:pt x="725" y="18"/>
                  </a:cubicBezTo>
                  <a:cubicBezTo>
                    <a:pt x="713" y="13"/>
                    <a:pt x="688" y="10"/>
                    <a:pt x="674" y="16"/>
                  </a:cubicBezTo>
                  <a:cubicBezTo>
                    <a:pt x="674" y="13"/>
                    <a:pt x="674" y="13"/>
                    <a:pt x="674" y="13"/>
                  </a:cubicBezTo>
                  <a:cubicBezTo>
                    <a:pt x="666" y="16"/>
                    <a:pt x="660" y="11"/>
                    <a:pt x="653" y="12"/>
                  </a:cubicBezTo>
                  <a:cubicBezTo>
                    <a:pt x="653" y="10"/>
                    <a:pt x="655" y="10"/>
                    <a:pt x="656" y="9"/>
                  </a:cubicBezTo>
                  <a:cubicBezTo>
                    <a:pt x="645" y="5"/>
                    <a:pt x="629" y="0"/>
                    <a:pt x="616" y="7"/>
                  </a:cubicBezTo>
                  <a:cubicBezTo>
                    <a:pt x="617" y="7"/>
                    <a:pt x="619" y="6"/>
                    <a:pt x="619" y="8"/>
                  </a:cubicBezTo>
                  <a:cubicBezTo>
                    <a:pt x="613" y="8"/>
                    <a:pt x="615" y="9"/>
                    <a:pt x="611" y="11"/>
                  </a:cubicBezTo>
                  <a:cubicBezTo>
                    <a:pt x="608" y="7"/>
                    <a:pt x="615" y="6"/>
                    <a:pt x="618" y="4"/>
                  </a:cubicBezTo>
                  <a:cubicBezTo>
                    <a:pt x="604" y="5"/>
                    <a:pt x="594" y="9"/>
                    <a:pt x="584" y="13"/>
                  </a:cubicBezTo>
                  <a:cubicBezTo>
                    <a:pt x="585" y="14"/>
                    <a:pt x="585" y="15"/>
                    <a:pt x="585" y="16"/>
                  </a:cubicBezTo>
                  <a:cubicBezTo>
                    <a:pt x="582" y="18"/>
                    <a:pt x="575" y="13"/>
                    <a:pt x="576" y="17"/>
                  </a:cubicBezTo>
                  <a:cubicBezTo>
                    <a:pt x="572" y="17"/>
                    <a:pt x="570" y="19"/>
                    <a:pt x="566" y="18"/>
                  </a:cubicBezTo>
                  <a:cubicBezTo>
                    <a:pt x="566" y="16"/>
                    <a:pt x="570" y="16"/>
                    <a:pt x="570" y="14"/>
                  </a:cubicBezTo>
                  <a:cubicBezTo>
                    <a:pt x="563" y="14"/>
                    <a:pt x="559" y="22"/>
                    <a:pt x="553" y="20"/>
                  </a:cubicBezTo>
                  <a:cubicBezTo>
                    <a:pt x="554" y="20"/>
                    <a:pt x="554" y="19"/>
                    <a:pt x="553" y="18"/>
                  </a:cubicBezTo>
                  <a:cubicBezTo>
                    <a:pt x="558" y="18"/>
                    <a:pt x="560" y="16"/>
                    <a:pt x="565" y="15"/>
                  </a:cubicBezTo>
                  <a:cubicBezTo>
                    <a:pt x="561" y="11"/>
                    <a:pt x="571" y="11"/>
                    <a:pt x="570" y="8"/>
                  </a:cubicBezTo>
                  <a:cubicBezTo>
                    <a:pt x="563" y="10"/>
                    <a:pt x="556" y="12"/>
                    <a:pt x="550" y="15"/>
                  </a:cubicBezTo>
                  <a:cubicBezTo>
                    <a:pt x="553" y="17"/>
                    <a:pt x="554" y="14"/>
                    <a:pt x="556" y="16"/>
                  </a:cubicBezTo>
                  <a:cubicBezTo>
                    <a:pt x="552" y="17"/>
                    <a:pt x="550" y="19"/>
                    <a:pt x="550" y="20"/>
                  </a:cubicBezTo>
                  <a:cubicBezTo>
                    <a:pt x="547" y="18"/>
                    <a:pt x="548" y="22"/>
                    <a:pt x="545" y="23"/>
                  </a:cubicBezTo>
                  <a:cubicBezTo>
                    <a:pt x="549" y="23"/>
                    <a:pt x="541" y="26"/>
                    <a:pt x="543" y="30"/>
                  </a:cubicBezTo>
                  <a:close/>
                  <a:moveTo>
                    <a:pt x="595" y="5"/>
                  </a:moveTo>
                  <a:cubicBezTo>
                    <a:pt x="588" y="5"/>
                    <a:pt x="580" y="11"/>
                    <a:pt x="577" y="13"/>
                  </a:cubicBezTo>
                  <a:cubicBezTo>
                    <a:pt x="580" y="13"/>
                    <a:pt x="582" y="12"/>
                    <a:pt x="586" y="11"/>
                  </a:cubicBezTo>
                  <a:cubicBezTo>
                    <a:pt x="585" y="7"/>
                    <a:pt x="592" y="9"/>
                    <a:pt x="595" y="5"/>
                  </a:cubicBezTo>
                  <a:close/>
                  <a:moveTo>
                    <a:pt x="397" y="110"/>
                  </a:moveTo>
                  <a:cubicBezTo>
                    <a:pt x="404" y="109"/>
                    <a:pt x="408" y="99"/>
                    <a:pt x="414" y="99"/>
                  </a:cubicBezTo>
                  <a:cubicBezTo>
                    <a:pt x="414" y="102"/>
                    <a:pt x="410" y="102"/>
                    <a:pt x="409" y="105"/>
                  </a:cubicBezTo>
                  <a:cubicBezTo>
                    <a:pt x="428" y="100"/>
                    <a:pt x="438" y="84"/>
                    <a:pt x="454" y="80"/>
                  </a:cubicBezTo>
                  <a:cubicBezTo>
                    <a:pt x="451" y="85"/>
                    <a:pt x="443" y="87"/>
                    <a:pt x="439" y="92"/>
                  </a:cubicBezTo>
                  <a:cubicBezTo>
                    <a:pt x="448" y="87"/>
                    <a:pt x="457" y="87"/>
                    <a:pt x="467" y="82"/>
                  </a:cubicBezTo>
                  <a:cubicBezTo>
                    <a:pt x="467" y="78"/>
                    <a:pt x="467" y="78"/>
                    <a:pt x="467" y="78"/>
                  </a:cubicBezTo>
                  <a:cubicBezTo>
                    <a:pt x="469" y="76"/>
                    <a:pt x="472" y="75"/>
                    <a:pt x="474" y="74"/>
                  </a:cubicBezTo>
                  <a:cubicBezTo>
                    <a:pt x="478" y="62"/>
                    <a:pt x="492" y="66"/>
                    <a:pt x="499" y="59"/>
                  </a:cubicBezTo>
                  <a:cubicBezTo>
                    <a:pt x="499" y="58"/>
                    <a:pt x="498" y="59"/>
                    <a:pt x="498" y="58"/>
                  </a:cubicBezTo>
                  <a:cubicBezTo>
                    <a:pt x="504" y="58"/>
                    <a:pt x="509" y="55"/>
                    <a:pt x="507" y="51"/>
                  </a:cubicBezTo>
                  <a:cubicBezTo>
                    <a:pt x="510" y="52"/>
                    <a:pt x="517" y="49"/>
                    <a:pt x="513" y="46"/>
                  </a:cubicBezTo>
                  <a:cubicBezTo>
                    <a:pt x="518" y="44"/>
                    <a:pt x="525" y="44"/>
                    <a:pt x="526" y="38"/>
                  </a:cubicBezTo>
                  <a:cubicBezTo>
                    <a:pt x="530" y="40"/>
                    <a:pt x="536" y="38"/>
                    <a:pt x="536" y="34"/>
                  </a:cubicBezTo>
                  <a:cubicBezTo>
                    <a:pt x="532" y="32"/>
                    <a:pt x="532" y="33"/>
                    <a:pt x="535" y="30"/>
                  </a:cubicBezTo>
                  <a:cubicBezTo>
                    <a:pt x="505" y="33"/>
                    <a:pt x="487" y="53"/>
                    <a:pt x="461" y="57"/>
                  </a:cubicBezTo>
                  <a:cubicBezTo>
                    <a:pt x="484" y="51"/>
                    <a:pt x="499" y="35"/>
                    <a:pt x="520" y="31"/>
                  </a:cubicBezTo>
                  <a:cubicBezTo>
                    <a:pt x="523" y="30"/>
                    <a:pt x="536" y="31"/>
                    <a:pt x="540" y="24"/>
                  </a:cubicBezTo>
                  <a:cubicBezTo>
                    <a:pt x="538" y="23"/>
                    <a:pt x="537" y="27"/>
                    <a:pt x="536" y="24"/>
                  </a:cubicBezTo>
                  <a:cubicBezTo>
                    <a:pt x="538" y="24"/>
                    <a:pt x="540" y="24"/>
                    <a:pt x="540" y="21"/>
                  </a:cubicBezTo>
                  <a:cubicBezTo>
                    <a:pt x="536" y="21"/>
                    <a:pt x="537" y="21"/>
                    <a:pt x="531" y="21"/>
                  </a:cubicBezTo>
                  <a:cubicBezTo>
                    <a:pt x="531" y="23"/>
                    <a:pt x="531" y="23"/>
                    <a:pt x="530" y="24"/>
                  </a:cubicBezTo>
                  <a:cubicBezTo>
                    <a:pt x="520" y="31"/>
                    <a:pt x="502" y="35"/>
                    <a:pt x="492" y="39"/>
                  </a:cubicBezTo>
                  <a:cubicBezTo>
                    <a:pt x="509" y="31"/>
                    <a:pt x="495" y="38"/>
                    <a:pt x="485" y="41"/>
                  </a:cubicBezTo>
                  <a:cubicBezTo>
                    <a:pt x="483" y="43"/>
                    <a:pt x="484" y="44"/>
                    <a:pt x="483" y="45"/>
                  </a:cubicBezTo>
                  <a:cubicBezTo>
                    <a:pt x="481" y="45"/>
                    <a:pt x="479" y="45"/>
                    <a:pt x="478" y="47"/>
                  </a:cubicBezTo>
                  <a:cubicBezTo>
                    <a:pt x="459" y="52"/>
                    <a:pt x="439" y="65"/>
                    <a:pt x="422" y="75"/>
                  </a:cubicBezTo>
                  <a:cubicBezTo>
                    <a:pt x="423" y="75"/>
                    <a:pt x="424" y="75"/>
                    <a:pt x="425" y="76"/>
                  </a:cubicBezTo>
                  <a:cubicBezTo>
                    <a:pt x="421" y="77"/>
                    <a:pt x="420" y="77"/>
                    <a:pt x="420" y="75"/>
                  </a:cubicBezTo>
                  <a:cubicBezTo>
                    <a:pt x="422" y="78"/>
                    <a:pt x="410" y="83"/>
                    <a:pt x="412" y="83"/>
                  </a:cubicBezTo>
                  <a:cubicBezTo>
                    <a:pt x="414" y="83"/>
                    <a:pt x="415" y="81"/>
                    <a:pt x="415" y="83"/>
                  </a:cubicBezTo>
                  <a:cubicBezTo>
                    <a:pt x="413" y="84"/>
                    <a:pt x="411" y="85"/>
                    <a:pt x="409" y="87"/>
                  </a:cubicBezTo>
                  <a:cubicBezTo>
                    <a:pt x="411" y="87"/>
                    <a:pt x="411" y="89"/>
                    <a:pt x="412" y="89"/>
                  </a:cubicBezTo>
                  <a:cubicBezTo>
                    <a:pt x="411" y="83"/>
                    <a:pt x="438" y="72"/>
                    <a:pt x="445" y="66"/>
                  </a:cubicBezTo>
                  <a:cubicBezTo>
                    <a:pt x="445" y="67"/>
                    <a:pt x="445" y="68"/>
                    <a:pt x="446" y="68"/>
                  </a:cubicBezTo>
                  <a:cubicBezTo>
                    <a:pt x="461" y="62"/>
                    <a:pt x="476" y="54"/>
                    <a:pt x="492" y="49"/>
                  </a:cubicBezTo>
                  <a:cubicBezTo>
                    <a:pt x="489" y="52"/>
                    <a:pt x="491" y="51"/>
                    <a:pt x="493" y="52"/>
                  </a:cubicBezTo>
                  <a:cubicBezTo>
                    <a:pt x="489" y="56"/>
                    <a:pt x="481" y="56"/>
                    <a:pt x="481" y="57"/>
                  </a:cubicBezTo>
                  <a:cubicBezTo>
                    <a:pt x="481" y="60"/>
                    <a:pt x="484" y="54"/>
                    <a:pt x="484" y="58"/>
                  </a:cubicBezTo>
                  <a:cubicBezTo>
                    <a:pt x="474" y="60"/>
                    <a:pt x="475" y="66"/>
                    <a:pt x="467" y="64"/>
                  </a:cubicBezTo>
                  <a:cubicBezTo>
                    <a:pt x="468" y="64"/>
                    <a:pt x="469" y="64"/>
                    <a:pt x="470" y="62"/>
                  </a:cubicBezTo>
                  <a:cubicBezTo>
                    <a:pt x="465" y="63"/>
                    <a:pt x="461" y="63"/>
                    <a:pt x="459" y="67"/>
                  </a:cubicBezTo>
                  <a:cubicBezTo>
                    <a:pt x="462" y="67"/>
                    <a:pt x="466" y="64"/>
                    <a:pt x="468" y="67"/>
                  </a:cubicBezTo>
                  <a:cubicBezTo>
                    <a:pt x="457" y="71"/>
                    <a:pt x="446" y="75"/>
                    <a:pt x="436" y="80"/>
                  </a:cubicBezTo>
                  <a:cubicBezTo>
                    <a:pt x="435" y="79"/>
                    <a:pt x="435" y="79"/>
                    <a:pt x="435" y="78"/>
                  </a:cubicBezTo>
                  <a:cubicBezTo>
                    <a:pt x="430" y="79"/>
                    <a:pt x="424" y="81"/>
                    <a:pt x="421" y="84"/>
                  </a:cubicBezTo>
                  <a:cubicBezTo>
                    <a:pt x="424" y="85"/>
                    <a:pt x="425" y="84"/>
                    <a:pt x="426" y="85"/>
                  </a:cubicBezTo>
                  <a:cubicBezTo>
                    <a:pt x="420" y="91"/>
                    <a:pt x="401" y="99"/>
                    <a:pt x="403" y="103"/>
                  </a:cubicBezTo>
                  <a:cubicBezTo>
                    <a:pt x="399" y="103"/>
                    <a:pt x="400" y="108"/>
                    <a:pt x="397" y="110"/>
                  </a:cubicBezTo>
                  <a:close/>
                  <a:moveTo>
                    <a:pt x="1664" y="783"/>
                  </a:moveTo>
                  <a:cubicBezTo>
                    <a:pt x="1662" y="757"/>
                    <a:pt x="1654" y="739"/>
                    <a:pt x="1657" y="715"/>
                  </a:cubicBezTo>
                  <a:cubicBezTo>
                    <a:pt x="1657" y="713"/>
                    <a:pt x="1660" y="711"/>
                    <a:pt x="1660" y="709"/>
                  </a:cubicBezTo>
                  <a:cubicBezTo>
                    <a:pt x="1661" y="704"/>
                    <a:pt x="1658" y="695"/>
                    <a:pt x="1659" y="688"/>
                  </a:cubicBezTo>
                  <a:cubicBezTo>
                    <a:pt x="1663" y="662"/>
                    <a:pt x="1657" y="631"/>
                    <a:pt x="1654" y="604"/>
                  </a:cubicBezTo>
                  <a:cubicBezTo>
                    <a:pt x="1657" y="604"/>
                    <a:pt x="1656" y="608"/>
                    <a:pt x="1658" y="609"/>
                  </a:cubicBezTo>
                  <a:cubicBezTo>
                    <a:pt x="1657" y="596"/>
                    <a:pt x="1656" y="594"/>
                    <a:pt x="1660" y="586"/>
                  </a:cubicBezTo>
                  <a:cubicBezTo>
                    <a:pt x="1665" y="605"/>
                    <a:pt x="1677" y="623"/>
                    <a:pt x="1681" y="642"/>
                  </a:cubicBezTo>
                  <a:cubicBezTo>
                    <a:pt x="1653" y="494"/>
                    <a:pt x="1586" y="373"/>
                    <a:pt x="1504" y="271"/>
                  </a:cubicBezTo>
                  <a:cubicBezTo>
                    <a:pt x="1433" y="183"/>
                    <a:pt x="1339" y="108"/>
                    <a:pt x="1233" y="55"/>
                  </a:cubicBezTo>
                  <a:cubicBezTo>
                    <a:pt x="1211" y="44"/>
                    <a:pt x="1193" y="32"/>
                    <a:pt x="1170" y="30"/>
                  </a:cubicBezTo>
                  <a:cubicBezTo>
                    <a:pt x="1169" y="38"/>
                    <a:pt x="1191" y="35"/>
                    <a:pt x="1181" y="42"/>
                  </a:cubicBezTo>
                  <a:cubicBezTo>
                    <a:pt x="1185" y="42"/>
                    <a:pt x="1187" y="44"/>
                    <a:pt x="1190" y="46"/>
                  </a:cubicBezTo>
                  <a:cubicBezTo>
                    <a:pt x="1176" y="44"/>
                    <a:pt x="1163" y="34"/>
                    <a:pt x="1149" y="38"/>
                  </a:cubicBezTo>
                  <a:cubicBezTo>
                    <a:pt x="1153" y="40"/>
                    <a:pt x="1156" y="40"/>
                    <a:pt x="1159" y="42"/>
                  </a:cubicBezTo>
                  <a:cubicBezTo>
                    <a:pt x="1149" y="43"/>
                    <a:pt x="1137" y="42"/>
                    <a:pt x="1133" y="43"/>
                  </a:cubicBezTo>
                  <a:cubicBezTo>
                    <a:pt x="1134" y="43"/>
                    <a:pt x="1134" y="43"/>
                    <a:pt x="1134" y="44"/>
                  </a:cubicBezTo>
                  <a:cubicBezTo>
                    <a:pt x="1129" y="45"/>
                    <a:pt x="1128" y="38"/>
                    <a:pt x="1123" y="41"/>
                  </a:cubicBezTo>
                  <a:cubicBezTo>
                    <a:pt x="1128" y="43"/>
                    <a:pt x="1130" y="44"/>
                    <a:pt x="1134" y="48"/>
                  </a:cubicBezTo>
                  <a:cubicBezTo>
                    <a:pt x="1134" y="49"/>
                    <a:pt x="1133" y="50"/>
                    <a:pt x="1132" y="51"/>
                  </a:cubicBezTo>
                  <a:cubicBezTo>
                    <a:pt x="1122" y="41"/>
                    <a:pt x="1110" y="28"/>
                    <a:pt x="1092" y="32"/>
                  </a:cubicBezTo>
                  <a:cubicBezTo>
                    <a:pt x="1084" y="33"/>
                    <a:pt x="1075" y="30"/>
                    <a:pt x="1069" y="33"/>
                  </a:cubicBezTo>
                  <a:cubicBezTo>
                    <a:pt x="1071" y="34"/>
                    <a:pt x="1075" y="34"/>
                    <a:pt x="1077" y="36"/>
                  </a:cubicBezTo>
                  <a:cubicBezTo>
                    <a:pt x="1073" y="36"/>
                    <a:pt x="1080" y="39"/>
                    <a:pt x="1076" y="41"/>
                  </a:cubicBezTo>
                  <a:cubicBezTo>
                    <a:pt x="1073" y="41"/>
                    <a:pt x="1073" y="39"/>
                    <a:pt x="1069" y="39"/>
                  </a:cubicBezTo>
                  <a:cubicBezTo>
                    <a:pt x="1069" y="44"/>
                    <a:pt x="1063" y="43"/>
                    <a:pt x="1064" y="47"/>
                  </a:cubicBezTo>
                  <a:cubicBezTo>
                    <a:pt x="1065" y="53"/>
                    <a:pt x="1072" y="50"/>
                    <a:pt x="1074" y="57"/>
                  </a:cubicBezTo>
                  <a:cubicBezTo>
                    <a:pt x="1068" y="57"/>
                    <a:pt x="1065" y="56"/>
                    <a:pt x="1062" y="59"/>
                  </a:cubicBezTo>
                  <a:cubicBezTo>
                    <a:pt x="1067" y="66"/>
                    <a:pt x="1081" y="64"/>
                    <a:pt x="1088" y="69"/>
                  </a:cubicBezTo>
                  <a:cubicBezTo>
                    <a:pt x="1080" y="69"/>
                    <a:pt x="1076" y="66"/>
                    <a:pt x="1068" y="66"/>
                  </a:cubicBezTo>
                  <a:cubicBezTo>
                    <a:pt x="1070" y="70"/>
                    <a:pt x="1066" y="68"/>
                    <a:pt x="1065" y="70"/>
                  </a:cubicBezTo>
                  <a:cubicBezTo>
                    <a:pt x="1066" y="72"/>
                    <a:pt x="1072" y="73"/>
                    <a:pt x="1070" y="74"/>
                  </a:cubicBezTo>
                  <a:cubicBezTo>
                    <a:pt x="1063" y="73"/>
                    <a:pt x="1059" y="64"/>
                    <a:pt x="1052" y="66"/>
                  </a:cubicBezTo>
                  <a:cubicBezTo>
                    <a:pt x="1056" y="67"/>
                    <a:pt x="1057" y="70"/>
                    <a:pt x="1058" y="74"/>
                  </a:cubicBezTo>
                  <a:cubicBezTo>
                    <a:pt x="1073" y="77"/>
                    <a:pt x="1082" y="94"/>
                    <a:pt x="1098" y="88"/>
                  </a:cubicBezTo>
                  <a:cubicBezTo>
                    <a:pt x="1098" y="91"/>
                    <a:pt x="1095" y="90"/>
                    <a:pt x="1096" y="93"/>
                  </a:cubicBezTo>
                  <a:cubicBezTo>
                    <a:pt x="1104" y="97"/>
                    <a:pt x="1113" y="103"/>
                    <a:pt x="1113" y="112"/>
                  </a:cubicBezTo>
                  <a:cubicBezTo>
                    <a:pt x="1108" y="111"/>
                    <a:pt x="1100" y="114"/>
                    <a:pt x="1098" y="110"/>
                  </a:cubicBezTo>
                  <a:cubicBezTo>
                    <a:pt x="1101" y="110"/>
                    <a:pt x="1103" y="108"/>
                    <a:pt x="1105" y="107"/>
                  </a:cubicBezTo>
                  <a:cubicBezTo>
                    <a:pt x="1101" y="101"/>
                    <a:pt x="1099" y="93"/>
                    <a:pt x="1087" y="94"/>
                  </a:cubicBezTo>
                  <a:cubicBezTo>
                    <a:pt x="1083" y="92"/>
                    <a:pt x="1081" y="89"/>
                    <a:pt x="1077" y="86"/>
                  </a:cubicBezTo>
                  <a:cubicBezTo>
                    <a:pt x="1071" y="83"/>
                    <a:pt x="1063" y="81"/>
                    <a:pt x="1057" y="77"/>
                  </a:cubicBezTo>
                  <a:cubicBezTo>
                    <a:pt x="1050" y="72"/>
                    <a:pt x="1045" y="64"/>
                    <a:pt x="1031" y="66"/>
                  </a:cubicBezTo>
                  <a:cubicBezTo>
                    <a:pt x="1031" y="71"/>
                    <a:pt x="1040" y="73"/>
                    <a:pt x="1038" y="81"/>
                  </a:cubicBezTo>
                  <a:cubicBezTo>
                    <a:pt x="1046" y="82"/>
                    <a:pt x="1050" y="87"/>
                    <a:pt x="1055" y="91"/>
                  </a:cubicBezTo>
                  <a:cubicBezTo>
                    <a:pt x="1061" y="91"/>
                    <a:pt x="1070" y="92"/>
                    <a:pt x="1073" y="98"/>
                  </a:cubicBezTo>
                  <a:cubicBezTo>
                    <a:pt x="1055" y="95"/>
                    <a:pt x="1045" y="90"/>
                    <a:pt x="1026" y="91"/>
                  </a:cubicBezTo>
                  <a:cubicBezTo>
                    <a:pt x="1025" y="96"/>
                    <a:pt x="1033" y="94"/>
                    <a:pt x="1033" y="99"/>
                  </a:cubicBezTo>
                  <a:cubicBezTo>
                    <a:pt x="1030" y="99"/>
                    <a:pt x="1036" y="102"/>
                    <a:pt x="1032" y="102"/>
                  </a:cubicBezTo>
                  <a:cubicBezTo>
                    <a:pt x="1028" y="102"/>
                    <a:pt x="1030" y="96"/>
                    <a:pt x="1025" y="97"/>
                  </a:cubicBezTo>
                  <a:cubicBezTo>
                    <a:pt x="1022" y="104"/>
                    <a:pt x="1011" y="98"/>
                    <a:pt x="1008" y="106"/>
                  </a:cubicBezTo>
                  <a:cubicBezTo>
                    <a:pt x="1001" y="107"/>
                    <a:pt x="1004" y="99"/>
                    <a:pt x="999" y="99"/>
                  </a:cubicBezTo>
                  <a:cubicBezTo>
                    <a:pt x="994" y="105"/>
                    <a:pt x="978" y="105"/>
                    <a:pt x="979" y="117"/>
                  </a:cubicBezTo>
                  <a:cubicBezTo>
                    <a:pt x="974" y="119"/>
                    <a:pt x="964" y="118"/>
                    <a:pt x="964" y="111"/>
                  </a:cubicBezTo>
                  <a:cubicBezTo>
                    <a:pt x="971" y="111"/>
                    <a:pt x="971" y="111"/>
                    <a:pt x="971" y="111"/>
                  </a:cubicBezTo>
                  <a:cubicBezTo>
                    <a:pt x="968" y="105"/>
                    <a:pt x="960" y="104"/>
                    <a:pt x="950" y="105"/>
                  </a:cubicBezTo>
                  <a:cubicBezTo>
                    <a:pt x="953" y="108"/>
                    <a:pt x="958" y="109"/>
                    <a:pt x="956" y="116"/>
                  </a:cubicBezTo>
                  <a:cubicBezTo>
                    <a:pt x="959" y="119"/>
                    <a:pt x="967" y="118"/>
                    <a:pt x="966" y="125"/>
                  </a:cubicBezTo>
                  <a:cubicBezTo>
                    <a:pt x="961" y="127"/>
                    <a:pt x="959" y="121"/>
                    <a:pt x="953" y="122"/>
                  </a:cubicBezTo>
                  <a:cubicBezTo>
                    <a:pt x="951" y="127"/>
                    <a:pt x="945" y="128"/>
                    <a:pt x="943" y="133"/>
                  </a:cubicBezTo>
                  <a:cubicBezTo>
                    <a:pt x="945" y="136"/>
                    <a:pt x="951" y="136"/>
                    <a:pt x="952" y="141"/>
                  </a:cubicBezTo>
                  <a:cubicBezTo>
                    <a:pt x="942" y="142"/>
                    <a:pt x="937" y="138"/>
                    <a:pt x="930" y="135"/>
                  </a:cubicBezTo>
                  <a:cubicBezTo>
                    <a:pt x="929" y="136"/>
                    <a:pt x="928" y="138"/>
                    <a:pt x="926" y="138"/>
                  </a:cubicBezTo>
                  <a:cubicBezTo>
                    <a:pt x="927" y="144"/>
                    <a:pt x="935" y="143"/>
                    <a:pt x="939" y="146"/>
                  </a:cubicBezTo>
                  <a:cubicBezTo>
                    <a:pt x="932" y="152"/>
                    <a:pt x="927" y="141"/>
                    <a:pt x="917" y="144"/>
                  </a:cubicBezTo>
                  <a:cubicBezTo>
                    <a:pt x="916" y="138"/>
                    <a:pt x="912" y="137"/>
                    <a:pt x="914" y="131"/>
                  </a:cubicBezTo>
                  <a:cubicBezTo>
                    <a:pt x="908" y="127"/>
                    <a:pt x="897" y="126"/>
                    <a:pt x="894" y="119"/>
                  </a:cubicBezTo>
                  <a:cubicBezTo>
                    <a:pt x="908" y="124"/>
                    <a:pt x="935" y="135"/>
                    <a:pt x="948" y="122"/>
                  </a:cubicBezTo>
                  <a:cubicBezTo>
                    <a:pt x="937" y="105"/>
                    <a:pt x="911" y="105"/>
                    <a:pt x="888" y="100"/>
                  </a:cubicBezTo>
                  <a:cubicBezTo>
                    <a:pt x="888" y="98"/>
                    <a:pt x="889" y="98"/>
                    <a:pt x="889" y="96"/>
                  </a:cubicBezTo>
                  <a:cubicBezTo>
                    <a:pt x="886" y="97"/>
                    <a:pt x="885" y="94"/>
                    <a:pt x="882" y="95"/>
                  </a:cubicBezTo>
                  <a:cubicBezTo>
                    <a:pt x="882" y="98"/>
                    <a:pt x="874" y="99"/>
                    <a:pt x="872" y="97"/>
                  </a:cubicBezTo>
                  <a:cubicBezTo>
                    <a:pt x="873" y="95"/>
                    <a:pt x="876" y="96"/>
                    <a:pt x="877" y="93"/>
                  </a:cubicBezTo>
                  <a:cubicBezTo>
                    <a:pt x="874" y="91"/>
                    <a:pt x="870" y="90"/>
                    <a:pt x="866" y="89"/>
                  </a:cubicBezTo>
                  <a:cubicBezTo>
                    <a:pt x="864" y="89"/>
                    <a:pt x="865" y="93"/>
                    <a:pt x="862" y="93"/>
                  </a:cubicBezTo>
                  <a:cubicBezTo>
                    <a:pt x="864" y="90"/>
                    <a:pt x="862" y="88"/>
                    <a:pt x="858" y="87"/>
                  </a:cubicBezTo>
                  <a:cubicBezTo>
                    <a:pt x="855" y="88"/>
                    <a:pt x="858" y="94"/>
                    <a:pt x="854" y="93"/>
                  </a:cubicBezTo>
                  <a:cubicBezTo>
                    <a:pt x="852" y="93"/>
                    <a:pt x="853" y="90"/>
                    <a:pt x="852" y="90"/>
                  </a:cubicBezTo>
                  <a:cubicBezTo>
                    <a:pt x="851" y="92"/>
                    <a:pt x="848" y="96"/>
                    <a:pt x="847" y="94"/>
                  </a:cubicBezTo>
                  <a:cubicBezTo>
                    <a:pt x="847" y="91"/>
                    <a:pt x="851" y="91"/>
                    <a:pt x="851" y="87"/>
                  </a:cubicBezTo>
                  <a:cubicBezTo>
                    <a:pt x="844" y="88"/>
                    <a:pt x="840" y="91"/>
                    <a:pt x="836" y="94"/>
                  </a:cubicBezTo>
                  <a:cubicBezTo>
                    <a:pt x="828" y="94"/>
                    <a:pt x="826" y="96"/>
                    <a:pt x="821" y="100"/>
                  </a:cubicBezTo>
                  <a:cubicBezTo>
                    <a:pt x="820" y="100"/>
                    <a:pt x="820" y="98"/>
                    <a:pt x="820" y="97"/>
                  </a:cubicBezTo>
                  <a:cubicBezTo>
                    <a:pt x="816" y="96"/>
                    <a:pt x="816" y="100"/>
                    <a:pt x="813" y="101"/>
                  </a:cubicBezTo>
                  <a:cubicBezTo>
                    <a:pt x="814" y="98"/>
                    <a:pt x="816" y="97"/>
                    <a:pt x="812" y="95"/>
                  </a:cubicBezTo>
                  <a:cubicBezTo>
                    <a:pt x="808" y="104"/>
                    <a:pt x="800" y="109"/>
                    <a:pt x="790" y="111"/>
                  </a:cubicBezTo>
                  <a:cubicBezTo>
                    <a:pt x="789" y="114"/>
                    <a:pt x="793" y="115"/>
                    <a:pt x="790" y="115"/>
                  </a:cubicBezTo>
                  <a:cubicBezTo>
                    <a:pt x="779" y="120"/>
                    <a:pt x="771" y="128"/>
                    <a:pt x="766" y="139"/>
                  </a:cubicBezTo>
                  <a:cubicBezTo>
                    <a:pt x="759" y="142"/>
                    <a:pt x="752" y="144"/>
                    <a:pt x="747" y="150"/>
                  </a:cubicBezTo>
                  <a:cubicBezTo>
                    <a:pt x="735" y="145"/>
                    <a:pt x="734" y="160"/>
                    <a:pt x="722" y="159"/>
                  </a:cubicBezTo>
                  <a:cubicBezTo>
                    <a:pt x="721" y="162"/>
                    <a:pt x="726" y="162"/>
                    <a:pt x="723" y="163"/>
                  </a:cubicBezTo>
                  <a:cubicBezTo>
                    <a:pt x="715" y="161"/>
                    <a:pt x="709" y="166"/>
                    <a:pt x="708" y="174"/>
                  </a:cubicBezTo>
                  <a:cubicBezTo>
                    <a:pt x="708" y="176"/>
                    <a:pt x="713" y="173"/>
                    <a:pt x="714" y="176"/>
                  </a:cubicBezTo>
                  <a:cubicBezTo>
                    <a:pt x="705" y="176"/>
                    <a:pt x="705" y="176"/>
                    <a:pt x="705" y="176"/>
                  </a:cubicBezTo>
                  <a:cubicBezTo>
                    <a:pt x="707" y="179"/>
                    <a:pt x="704" y="183"/>
                    <a:pt x="706" y="186"/>
                  </a:cubicBezTo>
                  <a:cubicBezTo>
                    <a:pt x="704" y="189"/>
                    <a:pt x="700" y="189"/>
                    <a:pt x="699" y="193"/>
                  </a:cubicBezTo>
                  <a:cubicBezTo>
                    <a:pt x="702" y="193"/>
                    <a:pt x="705" y="193"/>
                    <a:pt x="705" y="196"/>
                  </a:cubicBezTo>
                  <a:cubicBezTo>
                    <a:pt x="705" y="199"/>
                    <a:pt x="698" y="196"/>
                    <a:pt x="698" y="200"/>
                  </a:cubicBezTo>
                  <a:cubicBezTo>
                    <a:pt x="707" y="222"/>
                    <a:pt x="728" y="200"/>
                    <a:pt x="741" y="196"/>
                  </a:cubicBezTo>
                  <a:cubicBezTo>
                    <a:pt x="749" y="204"/>
                    <a:pt x="742" y="220"/>
                    <a:pt x="752" y="229"/>
                  </a:cubicBezTo>
                  <a:cubicBezTo>
                    <a:pt x="747" y="233"/>
                    <a:pt x="752" y="236"/>
                    <a:pt x="751" y="243"/>
                  </a:cubicBezTo>
                  <a:cubicBezTo>
                    <a:pt x="754" y="244"/>
                    <a:pt x="759" y="244"/>
                    <a:pt x="763" y="244"/>
                  </a:cubicBezTo>
                  <a:cubicBezTo>
                    <a:pt x="765" y="235"/>
                    <a:pt x="771" y="232"/>
                    <a:pt x="781" y="235"/>
                  </a:cubicBezTo>
                  <a:cubicBezTo>
                    <a:pt x="785" y="227"/>
                    <a:pt x="791" y="216"/>
                    <a:pt x="790" y="206"/>
                  </a:cubicBezTo>
                  <a:cubicBezTo>
                    <a:pt x="799" y="203"/>
                    <a:pt x="805" y="201"/>
                    <a:pt x="810" y="192"/>
                  </a:cubicBezTo>
                  <a:cubicBezTo>
                    <a:pt x="807" y="187"/>
                    <a:pt x="804" y="183"/>
                    <a:pt x="797" y="182"/>
                  </a:cubicBezTo>
                  <a:cubicBezTo>
                    <a:pt x="794" y="175"/>
                    <a:pt x="798" y="173"/>
                    <a:pt x="800" y="170"/>
                  </a:cubicBezTo>
                  <a:cubicBezTo>
                    <a:pt x="802" y="166"/>
                    <a:pt x="800" y="162"/>
                    <a:pt x="803" y="159"/>
                  </a:cubicBezTo>
                  <a:cubicBezTo>
                    <a:pt x="807" y="155"/>
                    <a:pt x="816" y="157"/>
                    <a:pt x="822" y="153"/>
                  </a:cubicBezTo>
                  <a:cubicBezTo>
                    <a:pt x="828" y="148"/>
                    <a:pt x="827" y="141"/>
                    <a:pt x="830" y="133"/>
                  </a:cubicBezTo>
                  <a:cubicBezTo>
                    <a:pt x="838" y="131"/>
                    <a:pt x="850" y="130"/>
                    <a:pt x="852" y="138"/>
                  </a:cubicBezTo>
                  <a:cubicBezTo>
                    <a:pt x="844" y="146"/>
                    <a:pt x="835" y="152"/>
                    <a:pt x="827" y="158"/>
                  </a:cubicBezTo>
                  <a:cubicBezTo>
                    <a:pt x="825" y="167"/>
                    <a:pt x="830" y="173"/>
                    <a:pt x="828" y="182"/>
                  </a:cubicBezTo>
                  <a:cubicBezTo>
                    <a:pt x="841" y="199"/>
                    <a:pt x="865" y="184"/>
                    <a:pt x="883" y="183"/>
                  </a:cubicBezTo>
                  <a:cubicBezTo>
                    <a:pt x="886" y="185"/>
                    <a:pt x="888" y="187"/>
                    <a:pt x="891" y="189"/>
                  </a:cubicBezTo>
                  <a:cubicBezTo>
                    <a:pt x="889" y="192"/>
                    <a:pt x="883" y="192"/>
                    <a:pt x="882" y="196"/>
                  </a:cubicBezTo>
                  <a:cubicBezTo>
                    <a:pt x="869" y="188"/>
                    <a:pt x="830" y="199"/>
                    <a:pt x="854" y="209"/>
                  </a:cubicBezTo>
                  <a:cubicBezTo>
                    <a:pt x="852" y="215"/>
                    <a:pt x="855" y="217"/>
                    <a:pt x="855" y="224"/>
                  </a:cubicBezTo>
                  <a:cubicBezTo>
                    <a:pt x="844" y="226"/>
                    <a:pt x="846" y="216"/>
                    <a:pt x="840" y="215"/>
                  </a:cubicBezTo>
                  <a:cubicBezTo>
                    <a:pt x="827" y="212"/>
                    <a:pt x="823" y="237"/>
                    <a:pt x="829" y="248"/>
                  </a:cubicBezTo>
                  <a:cubicBezTo>
                    <a:pt x="826" y="251"/>
                    <a:pt x="821" y="247"/>
                    <a:pt x="816" y="250"/>
                  </a:cubicBezTo>
                  <a:cubicBezTo>
                    <a:pt x="814" y="251"/>
                    <a:pt x="818" y="256"/>
                    <a:pt x="814" y="256"/>
                  </a:cubicBezTo>
                  <a:cubicBezTo>
                    <a:pt x="807" y="258"/>
                    <a:pt x="806" y="253"/>
                    <a:pt x="802" y="251"/>
                  </a:cubicBezTo>
                  <a:cubicBezTo>
                    <a:pt x="785" y="249"/>
                    <a:pt x="782" y="260"/>
                    <a:pt x="766" y="259"/>
                  </a:cubicBezTo>
                  <a:cubicBezTo>
                    <a:pt x="765" y="261"/>
                    <a:pt x="762" y="262"/>
                    <a:pt x="761" y="265"/>
                  </a:cubicBezTo>
                  <a:cubicBezTo>
                    <a:pt x="754" y="254"/>
                    <a:pt x="741" y="255"/>
                    <a:pt x="729" y="260"/>
                  </a:cubicBezTo>
                  <a:cubicBezTo>
                    <a:pt x="728" y="257"/>
                    <a:pt x="733" y="255"/>
                    <a:pt x="730" y="253"/>
                  </a:cubicBezTo>
                  <a:cubicBezTo>
                    <a:pt x="710" y="255"/>
                    <a:pt x="726" y="232"/>
                    <a:pt x="734" y="228"/>
                  </a:cubicBezTo>
                  <a:cubicBezTo>
                    <a:pt x="734" y="226"/>
                    <a:pt x="728" y="229"/>
                    <a:pt x="730" y="226"/>
                  </a:cubicBezTo>
                  <a:cubicBezTo>
                    <a:pt x="731" y="221"/>
                    <a:pt x="736" y="220"/>
                    <a:pt x="734" y="215"/>
                  </a:cubicBezTo>
                  <a:cubicBezTo>
                    <a:pt x="726" y="214"/>
                    <a:pt x="726" y="222"/>
                    <a:pt x="720" y="223"/>
                  </a:cubicBezTo>
                  <a:cubicBezTo>
                    <a:pt x="721" y="221"/>
                    <a:pt x="720" y="219"/>
                    <a:pt x="718" y="219"/>
                  </a:cubicBezTo>
                  <a:cubicBezTo>
                    <a:pt x="717" y="220"/>
                    <a:pt x="715" y="222"/>
                    <a:pt x="714" y="223"/>
                  </a:cubicBezTo>
                  <a:cubicBezTo>
                    <a:pt x="713" y="226"/>
                    <a:pt x="717" y="224"/>
                    <a:pt x="715" y="227"/>
                  </a:cubicBezTo>
                  <a:cubicBezTo>
                    <a:pt x="712" y="226"/>
                    <a:pt x="709" y="229"/>
                    <a:pt x="708" y="231"/>
                  </a:cubicBezTo>
                  <a:cubicBezTo>
                    <a:pt x="708" y="231"/>
                    <a:pt x="708" y="247"/>
                    <a:pt x="708" y="247"/>
                  </a:cubicBezTo>
                  <a:cubicBezTo>
                    <a:pt x="708" y="250"/>
                    <a:pt x="711" y="251"/>
                    <a:pt x="711" y="253"/>
                  </a:cubicBezTo>
                  <a:cubicBezTo>
                    <a:pt x="710" y="260"/>
                    <a:pt x="706" y="261"/>
                    <a:pt x="701" y="266"/>
                  </a:cubicBezTo>
                  <a:cubicBezTo>
                    <a:pt x="699" y="264"/>
                    <a:pt x="697" y="261"/>
                    <a:pt x="692" y="262"/>
                  </a:cubicBezTo>
                  <a:cubicBezTo>
                    <a:pt x="690" y="263"/>
                    <a:pt x="691" y="267"/>
                    <a:pt x="689" y="267"/>
                  </a:cubicBezTo>
                  <a:cubicBezTo>
                    <a:pt x="658" y="260"/>
                    <a:pt x="655" y="300"/>
                    <a:pt x="622" y="295"/>
                  </a:cubicBezTo>
                  <a:cubicBezTo>
                    <a:pt x="624" y="289"/>
                    <a:pt x="622" y="290"/>
                    <a:pt x="619" y="287"/>
                  </a:cubicBezTo>
                  <a:cubicBezTo>
                    <a:pt x="624" y="281"/>
                    <a:pt x="635" y="282"/>
                    <a:pt x="635" y="272"/>
                  </a:cubicBezTo>
                  <a:cubicBezTo>
                    <a:pt x="632" y="268"/>
                    <a:pt x="626" y="267"/>
                    <a:pt x="621" y="270"/>
                  </a:cubicBezTo>
                  <a:cubicBezTo>
                    <a:pt x="626" y="261"/>
                    <a:pt x="625" y="249"/>
                    <a:pt x="618" y="242"/>
                  </a:cubicBezTo>
                  <a:cubicBezTo>
                    <a:pt x="620" y="240"/>
                    <a:pt x="621" y="236"/>
                    <a:pt x="622" y="234"/>
                  </a:cubicBezTo>
                  <a:cubicBezTo>
                    <a:pt x="621" y="231"/>
                    <a:pt x="619" y="228"/>
                    <a:pt x="616" y="227"/>
                  </a:cubicBezTo>
                  <a:cubicBezTo>
                    <a:pt x="622" y="221"/>
                    <a:pt x="630" y="217"/>
                    <a:pt x="634" y="209"/>
                  </a:cubicBezTo>
                  <a:cubicBezTo>
                    <a:pt x="629" y="208"/>
                    <a:pt x="623" y="208"/>
                    <a:pt x="618" y="206"/>
                  </a:cubicBezTo>
                  <a:cubicBezTo>
                    <a:pt x="622" y="203"/>
                    <a:pt x="629" y="203"/>
                    <a:pt x="629" y="197"/>
                  </a:cubicBezTo>
                  <a:cubicBezTo>
                    <a:pt x="623" y="197"/>
                    <a:pt x="620" y="198"/>
                    <a:pt x="615" y="197"/>
                  </a:cubicBezTo>
                  <a:cubicBezTo>
                    <a:pt x="610" y="200"/>
                    <a:pt x="608" y="205"/>
                    <a:pt x="602" y="206"/>
                  </a:cubicBezTo>
                  <a:cubicBezTo>
                    <a:pt x="604" y="217"/>
                    <a:pt x="593" y="215"/>
                    <a:pt x="591" y="222"/>
                  </a:cubicBezTo>
                  <a:cubicBezTo>
                    <a:pt x="592" y="225"/>
                    <a:pt x="595" y="217"/>
                    <a:pt x="596" y="221"/>
                  </a:cubicBezTo>
                  <a:cubicBezTo>
                    <a:pt x="592" y="222"/>
                    <a:pt x="592" y="228"/>
                    <a:pt x="589" y="230"/>
                  </a:cubicBezTo>
                  <a:cubicBezTo>
                    <a:pt x="589" y="227"/>
                    <a:pt x="587" y="226"/>
                    <a:pt x="583" y="228"/>
                  </a:cubicBezTo>
                  <a:cubicBezTo>
                    <a:pt x="586" y="231"/>
                    <a:pt x="586" y="232"/>
                    <a:pt x="586" y="235"/>
                  </a:cubicBezTo>
                  <a:cubicBezTo>
                    <a:pt x="588" y="233"/>
                    <a:pt x="590" y="232"/>
                    <a:pt x="593" y="234"/>
                  </a:cubicBezTo>
                  <a:cubicBezTo>
                    <a:pt x="591" y="237"/>
                    <a:pt x="587" y="237"/>
                    <a:pt x="587" y="242"/>
                  </a:cubicBezTo>
                  <a:cubicBezTo>
                    <a:pt x="590" y="244"/>
                    <a:pt x="600" y="240"/>
                    <a:pt x="602" y="241"/>
                  </a:cubicBezTo>
                  <a:cubicBezTo>
                    <a:pt x="601" y="243"/>
                    <a:pt x="597" y="243"/>
                    <a:pt x="597" y="248"/>
                  </a:cubicBezTo>
                  <a:cubicBezTo>
                    <a:pt x="597" y="250"/>
                    <a:pt x="601" y="249"/>
                    <a:pt x="601" y="252"/>
                  </a:cubicBezTo>
                  <a:cubicBezTo>
                    <a:pt x="598" y="255"/>
                    <a:pt x="597" y="260"/>
                    <a:pt x="593" y="262"/>
                  </a:cubicBezTo>
                  <a:cubicBezTo>
                    <a:pt x="589" y="260"/>
                    <a:pt x="585" y="259"/>
                    <a:pt x="580" y="259"/>
                  </a:cubicBezTo>
                  <a:cubicBezTo>
                    <a:pt x="580" y="262"/>
                    <a:pt x="578" y="263"/>
                    <a:pt x="576" y="266"/>
                  </a:cubicBezTo>
                  <a:cubicBezTo>
                    <a:pt x="578" y="266"/>
                    <a:pt x="580" y="266"/>
                    <a:pt x="581" y="268"/>
                  </a:cubicBezTo>
                  <a:cubicBezTo>
                    <a:pt x="579" y="276"/>
                    <a:pt x="565" y="272"/>
                    <a:pt x="565" y="282"/>
                  </a:cubicBezTo>
                  <a:cubicBezTo>
                    <a:pt x="572" y="279"/>
                    <a:pt x="575" y="286"/>
                    <a:pt x="581" y="287"/>
                  </a:cubicBezTo>
                  <a:cubicBezTo>
                    <a:pt x="565" y="287"/>
                    <a:pt x="557" y="295"/>
                    <a:pt x="547" y="303"/>
                  </a:cubicBezTo>
                  <a:cubicBezTo>
                    <a:pt x="554" y="307"/>
                    <a:pt x="560" y="294"/>
                    <a:pt x="567" y="302"/>
                  </a:cubicBezTo>
                  <a:cubicBezTo>
                    <a:pt x="571" y="301"/>
                    <a:pt x="573" y="297"/>
                    <a:pt x="577" y="296"/>
                  </a:cubicBezTo>
                  <a:cubicBezTo>
                    <a:pt x="580" y="295"/>
                    <a:pt x="578" y="299"/>
                    <a:pt x="581" y="299"/>
                  </a:cubicBezTo>
                  <a:cubicBezTo>
                    <a:pt x="594" y="297"/>
                    <a:pt x="607" y="300"/>
                    <a:pt x="621" y="295"/>
                  </a:cubicBezTo>
                  <a:cubicBezTo>
                    <a:pt x="626" y="312"/>
                    <a:pt x="603" y="306"/>
                    <a:pt x="599" y="317"/>
                  </a:cubicBezTo>
                  <a:cubicBezTo>
                    <a:pt x="595" y="317"/>
                    <a:pt x="591" y="317"/>
                    <a:pt x="589" y="316"/>
                  </a:cubicBezTo>
                  <a:cubicBezTo>
                    <a:pt x="589" y="312"/>
                    <a:pt x="588" y="309"/>
                    <a:pt x="583" y="310"/>
                  </a:cubicBezTo>
                  <a:cubicBezTo>
                    <a:pt x="588" y="324"/>
                    <a:pt x="570" y="328"/>
                    <a:pt x="562" y="320"/>
                  </a:cubicBezTo>
                  <a:cubicBezTo>
                    <a:pt x="558" y="323"/>
                    <a:pt x="549" y="320"/>
                    <a:pt x="546" y="323"/>
                  </a:cubicBezTo>
                  <a:cubicBezTo>
                    <a:pt x="549" y="328"/>
                    <a:pt x="541" y="328"/>
                    <a:pt x="542" y="332"/>
                  </a:cubicBezTo>
                  <a:cubicBezTo>
                    <a:pt x="549" y="336"/>
                    <a:pt x="557" y="338"/>
                    <a:pt x="562" y="345"/>
                  </a:cubicBezTo>
                  <a:cubicBezTo>
                    <a:pt x="559" y="351"/>
                    <a:pt x="563" y="357"/>
                    <a:pt x="567" y="361"/>
                  </a:cubicBezTo>
                  <a:cubicBezTo>
                    <a:pt x="564" y="378"/>
                    <a:pt x="554" y="391"/>
                    <a:pt x="545" y="403"/>
                  </a:cubicBezTo>
                  <a:cubicBezTo>
                    <a:pt x="534" y="401"/>
                    <a:pt x="525" y="401"/>
                    <a:pt x="516" y="400"/>
                  </a:cubicBezTo>
                  <a:cubicBezTo>
                    <a:pt x="510" y="400"/>
                    <a:pt x="509" y="396"/>
                    <a:pt x="504" y="395"/>
                  </a:cubicBezTo>
                  <a:cubicBezTo>
                    <a:pt x="493" y="391"/>
                    <a:pt x="483" y="396"/>
                    <a:pt x="479" y="389"/>
                  </a:cubicBezTo>
                  <a:cubicBezTo>
                    <a:pt x="474" y="395"/>
                    <a:pt x="462" y="393"/>
                    <a:pt x="457" y="398"/>
                  </a:cubicBezTo>
                  <a:cubicBezTo>
                    <a:pt x="460" y="407"/>
                    <a:pt x="456" y="410"/>
                    <a:pt x="454" y="414"/>
                  </a:cubicBezTo>
                  <a:cubicBezTo>
                    <a:pt x="451" y="422"/>
                    <a:pt x="449" y="431"/>
                    <a:pt x="441" y="441"/>
                  </a:cubicBezTo>
                  <a:cubicBezTo>
                    <a:pt x="435" y="448"/>
                    <a:pt x="425" y="458"/>
                    <a:pt x="425" y="465"/>
                  </a:cubicBezTo>
                  <a:cubicBezTo>
                    <a:pt x="424" y="467"/>
                    <a:pt x="427" y="471"/>
                    <a:pt x="427" y="472"/>
                  </a:cubicBezTo>
                  <a:cubicBezTo>
                    <a:pt x="428" y="481"/>
                    <a:pt x="421" y="484"/>
                    <a:pt x="418" y="493"/>
                  </a:cubicBezTo>
                  <a:cubicBezTo>
                    <a:pt x="421" y="496"/>
                    <a:pt x="427" y="495"/>
                    <a:pt x="429" y="498"/>
                  </a:cubicBezTo>
                  <a:cubicBezTo>
                    <a:pt x="433" y="497"/>
                    <a:pt x="436" y="495"/>
                    <a:pt x="441" y="495"/>
                  </a:cubicBezTo>
                  <a:cubicBezTo>
                    <a:pt x="446" y="500"/>
                    <a:pt x="447" y="504"/>
                    <a:pt x="446" y="514"/>
                  </a:cubicBezTo>
                  <a:cubicBezTo>
                    <a:pt x="451" y="521"/>
                    <a:pt x="455" y="514"/>
                    <a:pt x="462" y="512"/>
                  </a:cubicBezTo>
                  <a:cubicBezTo>
                    <a:pt x="476" y="506"/>
                    <a:pt x="489" y="512"/>
                    <a:pt x="501" y="513"/>
                  </a:cubicBezTo>
                  <a:cubicBezTo>
                    <a:pt x="508" y="507"/>
                    <a:pt x="510" y="498"/>
                    <a:pt x="523" y="499"/>
                  </a:cubicBezTo>
                  <a:cubicBezTo>
                    <a:pt x="527" y="491"/>
                    <a:pt x="532" y="485"/>
                    <a:pt x="542" y="483"/>
                  </a:cubicBezTo>
                  <a:cubicBezTo>
                    <a:pt x="543" y="476"/>
                    <a:pt x="538" y="477"/>
                    <a:pt x="538" y="471"/>
                  </a:cubicBezTo>
                  <a:cubicBezTo>
                    <a:pt x="543" y="459"/>
                    <a:pt x="557" y="456"/>
                    <a:pt x="564" y="445"/>
                  </a:cubicBezTo>
                  <a:cubicBezTo>
                    <a:pt x="578" y="441"/>
                    <a:pt x="602" y="440"/>
                    <a:pt x="596" y="421"/>
                  </a:cubicBezTo>
                  <a:cubicBezTo>
                    <a:pt x="602" y="415"/>
                    <a:pt x="607" y="408"/>
                    <a:pt x="615" y="408"/>
                  </a:cubicBezTo>
                  <a:cubicBezTo>
                    <a:pt x="616" y="408"/>
                    <a:pt x="618" y="410"/>
                    <a:pt x="621" y="411"/>
                  </a:cubicBezTo>
                  <a:cubicBezTo>
                    <a:pt x="632" y="413"/>
                    <a:pt x="631" y="419"/>
                    <a:pt x="644" y="418"/>
                  </a:cubicBezTo>
                  <a:cubicBezTo>
                    <a:pt x="645" y="409"/>
                    <a:pt x="656" y="410"/>
                    <a:pt x="664" y="407"/>
                  </a:cubicBezTo>
                  <a:cubicBezTo>
                    <a:pt x="670" y="404"/>
                    <a:pt x="672" y="399"/>
                    <a:pt x="676" y="398"/>
                  </a:cubicBezTo>
                  <a:cubicBezTo>
                    <a:pt x="687" y="398"/>
                    <a:pt x="695" y="409"/>
                    <a:pt x="692" y="422"/>
                  </a:cubicBezTo>
                  <a:cubicBezTo>
                    <a:pt x="703" y="432"/>
                    <a:pt x="715" y="440"/>
                    <a:pt x="723" y="453"/>
                  </a:cubicBezTo>
                  <a:cubicBezTo>
                    <a:pt x="731" y="453"/>
                    <a:pt x="731" y="453"/>
                    <a:pt x="731" y="453"/>
                  </a:cubicBezTo>
                  <a:cubicBezTo>
                    <a:pt x="732" y="462"/>
                    <a:pt x="745" y="458"/>
                    <a:pt x="749" y="464"/>
                  </a:cubicBezTo>
                  <a:cubicBezTo>
                    <a:pt x="748" y="468"/>
                    <a:pt x="750" y="469"/>
                    <a:pt x="751" y="472"/>
                  </a:cubicBezTo>
                  <a:cubicBezTo>
                    <a:pt x="753" y="473"/>
                    <a:pt x="757" y="473"/>
                    <a:pt x="759" y="475"/>
                  </a:cubicBezTo>
                  <a:cubicBezTo>
                    <a:pt x="760" y="481"/>
                    <a:pt x="762" y="487"/>
                    <a:pt x="764" y="491"/>
                  </a:cubicBezTo>
                  <a:cubicBezTo>
                    <a:pt x="760" y="496"/>
                    <a:pt x="760" y="503"/>
                    <a:pt x="753" y="505"/>
                  </a:cubicBezTo>
                  <a:cubicBezTo>
                    <a:pt x="751" y="505"/>
                    <a:pt x="747" y="504"/>
                    <a:pt x="743" y="504"/>
                  </a:cubicBezTo>
                  <a:cubicBezTo>
                    <a:pt x="733" y="505"/>
                    <a:pt x="728" y="509"/>
                    <a:pt x="722" y="503"/>
                  </a:cubicBezTo>
                  <a:cubicBezTo>
                    <a:pt x="718" y="506"/>
                    <a:pt x="716" y="504"/>
                    <a:pt x="710" y="504"/>
                  </a:cubicBezTo>
                  <a:cubicBezTo>
                    <a:pt x="709" y="507"/>
                    <a:pt x="707" y="508"/>
                    <a:pt x="709" y="512"/>
                  </a:cubicBezTo>
                  <a:cubicBezTo>
                    <a:pt x="717" y="512"/>
                    <a:pt x="720" y="521"/>
                    <a:pt x="727" y="524"/>
                  </a:cubicBezTo>
                  <a:cubicBezTo>
                    <a:pt x="729" y="525"/>
                    <a:pt x="732" y="523"/>
                    <a:pt x="734" y="524"/>
                  </a:cubicBezTo>
                  <a:cubicBezTo>
                    <a:pt x="738" y="526"/>
                    <a:pt x="742" y="535"/>
                    <a:pt x="748" y="530"/>
                  </a:cubicBezTo>
                  <a:cubicBezTo>
                    <a:pt x="750" y="523"/>
                    <a:pt x="746" y="512"/>
                    <a:pt x="754" y="510"/>
                  </a:cubicBezTo>
                  <a:cubicBezTo>
                    <a:pt x="768" y="513"/>
                    <a:pt x="768" y="494"/>
                    <a:pt x="780" y="492"/>
                  </a:cubicBezTo>
                  <a:cubicBezTo>
                    <a:pt x="781" y="483"/>
                    <a:pt x="773" y="483"/>
                    <a:pt x="771" y="477"/>
                  </a:cubicBezTo>
                  <a:cubicBezTo>
                    <a:pt x="774" y="474"/>
                    <a:pt x="774" y="468"/>
                    <a:pt x="779" y="467"/>
                  </a:cubicBezTo>
                  <a:cubicBezTo>
                    <a:pt x="788" y="467"/>
                    <a:pt x="791" y="482"/>
                    <a:pt x="800" y="475"/>
                  </a:cubicBezTo>
                  <a:cubicBezTo>
                    <a:pt x="796" y="458"/>
                    <a:pt x="776" y="458"/>
                    <a:pt x="764" y="449"/>
                  </a:cubicBezTo>
                  <a:cubicBezTo>
                    <a:pt x="766" y="447"/>
                    <a:pt x="768" y="446"/>
                    <a:pt x="767" y="442"/>
                  </a:cubicBezTo>
                  <a:cubicBezTo>
                    <a:pt x="757" y="440"/>
                    <a:pt x="749" y="439"/>
                    <a:pt x="743" y="433"/>
                  </a:cubicBezTo>
                  <a:cubicBezTo>
                    <a:pt x="739" y="428"/>
                    <a:pt x="739" y="420"/>
                    <a:pt x="736" y="414"/>
                  </a:cubicBezTo>
                  <a:cubicBezTo>
                    <a:pt x="731" y="406"/>
                    <a:pt x="720" y="405"/>
                    <a:pt x="720" y="395"/>
                  </a:cubicBezTo>
                  <a:cubicBezTo>
                    <a:pt x="724" y="394"/>
                    <a:pt x="725" y="389"/>
                    <a:pt x="722" y="386"/>
                  </a:cubicBezTo>
                  <a:cubicBezTo>
                    <a:pt x="726" y="383"/>
                    <a:pt x="734" y="378"/>
                    <a:pt x="740" y="381"/>
                  </a:cubicBezTo>
                  <a:cubicBezTo>
                    <a:pt x="740" y="386"/>
                    <a:pt x="736" y="388"/>
                    <a:pt x="738" y="394"/>
                  </a:cubicBezTo>
                  <a:cubicBezTo>
                    <a:pt x="744" y="394"/>
                    <a:pt x="742" y="388"/>
                    <a:pt x="748" y="390"/>
                  </a:cubicBezTo>
                  <a:cubicBezTo>
                    <a:pt x="751" y="402"/>
                    <a:pt x="761" y="406"/>
                    <a:pt x="765" y="417"/>
                  </a:cubicBezTo>
                  <a:cubicBezTo>
                    <a:pt x="770" y="416"/>
                    <a:pt x="773" y="418"/>
                    <a:pt x="777" y="418"/>
                  </a:cubicBezTo>
                  <a:cubicBezTo>
                    <a:pt x="778" y="420"/>
                    <a:pt x="778" y="423"/>
                    <a:pt x="780" y="424"/>
                  </a:cubicBezTo>
                  <a:cubicBezTo>
                    <a:pt x="795" y="428"/>
                    <a:pt x="801" y="441"/>
                    <a:pt x="814" y="446"/>
                  </a:cubicBezTo>
                  <a:cubicBezTo>
                    <a:pt x="813" y="455"/>
                    <a:pt x="811" y="463"/>
                    <a:pt x="809" y="469"/>
                  </a:cubicBezTo>
                  <a:cubicBezTo>
                    <a:pt x="811" y="473"/>
                    <a:pt x="818" y="473"/>
                    <a:pt x="817" y="481"/>
                  </a:cubicBezTo>
                  <a:cubicBezTo>
                    <a:pt x="827" y="485"/>
                    <a:pt x="831" y="496"/>
                    <a:pt x="838" y="503"/>
                  </a:cubicBezTo>
                  <a:cubicBezTo>
                    <a:pt x="841" y="504"/>
                    <a:pt x="847" y="501"/>
                    <a:pt x="847" y="505"/>
                  </a:cubicBezTo>
                  <a:cubicBezTo>
                    <a:pt x="845" y="507"/>
                    <a:pt x="840" y="506"/>
                    <a:pt x="839" y="510"/>
                  </a:cubicBezTo>
                  <a:cubicBezTo>
                    <a:pt x="843" y="516"/>
                    <a:pt x="846" y="518"/>
                    <a:pt x="844" y="529"/>
                  </a:cubicBezTo>
                  <a:cubicBezTo>
                    <a:pt x="848" y="531"/>
                    <a:pt x="851" y="529"/>
                    <a:pt x="856" y="529"/>
                  </a:cubicBezTo>
                  <a:cubicBezTo>
                    <a:pt x="856" y="531"/>
                    <a:pt x="857" y="532"/>
                    <a:pt x="858" y="535"/>
                  </a:cubicBezTo>
                  <a:cubicBezTo>
                    <a:pt x="863" y="530"/>
                    <a:pt x="865" y="538"/>
                    <a:pt x="870" y="536"/>
                  </a:cubicBezTo>
                  <a:cubicBezTo>
                    <a:pt x="870" y="528"/>
                    <a:pt x="864" y="521"/>
                    <a:pt x="864" y="516"/>
                  </a:cubicBezTo>
                  <a:cubicBezTo>
                    <a:pt x="869" y="516"/>
                    <a:pt x="868" y="521"/>
                    <a:pt x="874" y="519"/>
                  </a:cubicBezTo>
                  <a:cubicBezTo>
                    <a:pt x="873" y="511"/>
                    <a:pt x="857" y="510"/>
                    <a:pt x="852" y="503"/>
                  </a:cubicBezTo>
                  <a:cubicBezTo>
                    <a:pt x="863" y="501"/>
                    <a:pt x="870" y="511"/>
                    <a:pt x="881" y="513"/>
                  </a:cubicBezTo>
                  <a:cubicBezTo>
                    <a:pt x="883" y="510"/>
                    <a:pt x="881" y="506"/>
                    <a:pt x="880" y="504"/>
                  </a:cubicBezTo>
                  <a:cubicBezTo>
                    <a:pt x="883" y="503"/>
                    <a:pt x="886" y="502"/>
                    <a:pt x="885" y="496"/>
                  </a:cubicBezTo>
                  <a:cubicBezTo>
                    <a:pt x="881" y="496"/>
                    <a:pt x="876" y="496"/>
                    <a:pt x="873" y="493"/>
                  </a:cubicBezTo>
                  <a:cubicBezTo>
                    <a:pt x="867" y="489"/>
                    <a:pt x="860" y="474"/>
                    <a:pt x="858" y="467"/>
                  </a:cubicBezTo>
                  <a:cubicBezTo>
                    <a:pt x="864" y="469"/>
                    <a:pt x="866" y="474"/>
                    <a:pt x="872" y="476"/>
                  </a:cubicBezTo>
                  <a:cubicBezTo>
                    <a:pt x="878" y="473"/>
                    <a:pt x="872" y="463"/>
                    <a:pt x="880" y="461"/>
                  </a:cubicBezTo>
                  <a:cubicBezTo>
                    <a:pt x="884" y="461"/>
                    <a:pt x="884" y="464"/>
                    <a:pt x="887" y="465"/>
                  </a:cubicBezTo>
                  <a:cubicBezTo>
                    <a:pt x="891" y="463"/>
                    <a:pt x="891" y="459"/>
                    <a:pt x="895" y="459"/>
                  </a:cubicBezTo>
                  <a:cubicBezTo>
                    <a:pt x="900" y="461"/>
                    <a:pt x="908" y="461"/>
                    <a:pt x="908" y="467"/>
                  </a:cubicBezTo>
                  <a:cubicBezTo>
                    <a:pt x="906" y="469"/>
                    <a:pt x="900" y="468"/>
                    <a:pt x="902" y="473"/>
                  </a:cubicBezTo>
                  <a:cubicBezTo>
                    <a:pt x="906" y="477"/>
                    <a:pt x="907" y="470"/>
                    <a:pt x="911" y="470"/>
                  </a:cubicBezTo>
                  <a:cubicBezTo>
                    <a:pt x="910" y="479"/>
                    <a:pt x="910" y="484"/>
                    <a:pt x="906" y="490"/>
                  </a:cubicBezTo>
                  <a:cubicBezTo>
                    <a:pt x="910" y="490"/>
                    <a:pt x="912" y="492"/>
                    <a:pt x="916" y="492"/>
                  </a:cubicBezTo>
                  <a:cubicBezTo>
                    <a:pt x="920" y="487"/>
                    <a:pt x="914" y="487"/>
                    <a:pt x="912" y="484"/>
                  </a:cubicBezTo>
                  <a:cubicBezTo>
                    <a:pt x="922" y="483"/>
                    <a:pt x="922" y="498"/>
                    <a:pt x="923" y="502"/>
                  </a:cubicBezTo>
                  <a:cubicBezTo>
                    <a:pt x="919" y="497"/>
                    <a:pt x="915" y="497"/>
                    <a:pt x="907" y="498"/>
                  </a:cubicBezTo>
                  <a:cubicBezTo>
                    <a:pt x="907" y="504"/>
                    <a:pt x="907" y="504"/>
                    <a:pt x="907" y="504"/>
                  </a:cubicBezTo>
                  <a:cubicBezTo>
                    <a:pt x="918" y="505"/>
                    <a:pt x="933" y="506"/>
                    <a:pt x="930" y="519"/>
                  </a:cubicBezTo>
                  <a:cubicBezTo>
                    <a:pt x="936" y="523"/>
                    <a:pt x="943" y="525"/>
                    <a:pt x="946" y="531"/>
                  </a:cubicBezTo>
                  <a:cubicBezTo>
                    <a:pt x="957" y="529"/>
                    <a:pt x="965" y="543"/>
                    <a:pt x="980" y="537"/>
                  </a:cubicBezTo>
                  <a:cubicBezTo>
                    <a:pt x="978" y="524"/>
                    <a:pt x="995" y="524"/>
                    <a:pt x="1003" y="530"/>
                  </a:cubicBezTo>
                  <a:cubicBezTo>
                    <a:pt x="1006" y="532"/>
                    <a:pt x="1006" y="537"/>
                    <a:pt x="1010" y="539"/>
                  </a:cubicBezTo>
                  <a:cubicBezTo>
                    <a:pt x="1030" y="545"/>
                    <a:pt x="1038" y="516"/>
                    <a:pt x="1055" y="528"/>
                  </a:cubicBezTo>
                  <a:cubicBezTo>
                    <a:pt x="1059" y="527"/>
                    <a:pt x="1058" y="522"/>
                    <a:pt x="1063" y="522"/>
                  </a:cubicBezTo>
                  <a:cubicBezTo>
                    <a:pt x="1064" y="533"/>
                    <a:pt x="1056" y="553"/>
                    <a:pt x="1068" y="561"/>
                  </a:cubicBezTo>
                  <a:cubicBezTo>
                    <a:pt x="1054" y="576"/>
                    <a:pt x="1068" y="603"/>
                    <a:pt x="1059" y="616"/>
                  </a:cubicBezTo>
                  <a:cubicBezTo>
                    <a:pt x="1054" y="616"/>
                    <a:pt x="1054" y="616"/>
                    <a:pt x="1054" y="616"/>
                  </a:cubicBezTo>
                  <a:cubicBezTo>
                    <a:pt x="1052" y="630"/>
                    <a:pt x="1039" y="623"/>
                    <a:pt x="1027" y="625"/>
                  </a:cubicBezTo>
                  <a:cubicBezTo>
                    <a:pt x="1022" y="616"/>
                    <a:pt x="1015" y="621"/>
                    <a:pt x="1005" y="622"/>
                  </a:cubicBezTo>
                  <a:cubicBezTo>
                    <a:pt x="1002" y="622"/>
                    <a:pt x="1000" y="621"/>
                    <a:pt x="999" y="621"/>
                  </a:cubicBezTo>
                  <a:cubicBezTo>
                    <a:pt x="990" y="623"/>
                    <a:pt x="983" y="633"/>
                    <a:pt x="977" y="634"/>
                  </a:cubicBezTo>
                  <a:cubicBezTo>
                    <a:pt x="970" y="628"/>
                    <a:pt x="960" y="632"/>
                    <a:pt x="952" y="630"/>
                  </a:cubicBezTo>
                  <a:cubicBezTo>
                    <a:pt x="949" y="629"/>
                    <a:pt x="947" y="626"/>
                    <a:pt x="944" y="625"/>
                  </a:cubicBezTo>
                  <a:cubicBezTo>
                    <a:pt x="942" y="624"/>
                    <a:pt x="938" y="626"/>
                    <a:pt x="934" y="625"/>
                  </a:cubicBezTo>
                  <a:cubicBezTo>
                    <a:pt x="925" y="624"/>
                    <a:pt x="920" y="619"/>
                    <a:pt x="913" y="624"/>
                  </a:cubicBezTo>
                  <a:cubicBezTo>
                    <a:pt x="911" y="622"/>
                    <a:pt x="908" y="621"/>
                    <a:pt x="908" y="616"/>
                  </a:cubicBezTo>
                  <a:cubicBezTo>
                    <a:pt x="895" y="618"/>
                    <a:pt x="893" y="610"/>
                    <a:pt x="879" y="612"/>
                  </a:cubicBezTo>
                  <a:cubicBezTo>
                    <a:pt x="875" y="611"/>
                    <a:pt x="874" y="606"/>
                    <a:pt x="872" y="603"/>
                  </a:cubicBezTo>
                  <a:cubicBezTo>
                    <a:pt x="866" y="605"/>
                    <a:pt x="862" y="600"/>
                    <a:pt x="857" y="600"/>
                  </a:cubicBezTo>
                  <a:cubicBezTo>
                    <a:pt x="850" y="599"/>
                    <a:pt x="847" y="602"/>
                    <a:pt x="843" y="603"/>
                  </a:cubicBezTo>
                  <a:cubicBezTo>
                    <a:pt x="839" y="604"/>
                    <a:pt x="834" y="602"/>
                    <a:pt x="834" y="603"/>
                  </a:cubicBezTo>
                  <a:cubicBezTo>
                    <a:pt x="831" y="604"/>
                    <a:pt x="822" y="612"/>
                    <a:pt x="821" y="615"/>
                  </a:cubicBezTo>
                  <a:cubicBezTo>
                    <a:pt x="819" y="622"/>
                    <a:pt x="827" y="628"/>
                    <a:pt x="826" y="635"/>
                  </a:cubicBezTo>
                  <a:cubicBezTo>
                    <a:pt x="825" y="641"/>
                    <a:pt x="818" y="646"/>
                    <a:pt x="813" y="647"/>
                  </a:cubicBezTo>
                  <a:cubicBezTo>
                    <a:pt x="803" y="649"/>
                    <a:pt x="802" y="644"/>
                    <a:pt x="797" y="640"/>
                  </a:cubicBezTo>
                  <a:cubicBezTo>
                    <a:pt x="792" y="636"/>
                    <a:pt x="782" y="631"/>
                    <a:pt x="778" y="630"/>
                  </a:cubicBezTo>
                  <a:cubicBezTo>
                    <a:pt x="768" y="628"/>
                    <a:pt x="760" y="632"/>
                    <a:pt x="754" y="628"/>
                  </a:cubicBezTo>
                  <a:cubicBezTo>
                    <a:pt x="748" y="624"/>
                    <a:pt x="751" y="613"/>
                    <a:pt x="744" y="608"/>
                  </a:cubicBezTo>
                  <a:cubicBezTo>
                    <a:pt x="743" y="606"/>
                    <a:pt x="738" y="606"/>
                    <a:pt x="735" y="605"/>
                  </a:cubicBezTo>
                  <a:cubicBezTo>
                    <a:pt x="731" y="603"/>
                    <a:pt x="729" y="600"/>
                    <a:pt x="727" y="599"/>
                  </a:cubicBezTo>
                  <a:cubicBezTo>
                    <a:pt x="718" y="596"/>
                    <a:pt x="709" y="601"/>
                    <a:pt x="701" y="599"/>
                  </a:cubicBezTo>
                  <a:cubicBezTo>
                    <a:pt x="693" y="597"/>
                    <a:pt x="691" y="590"/>
                    <a:pt x="683" y="588"/>
                  </a:cubicBezTo>
                  <a:cubicBezTo>
                    <a:pt x="682" y="586"/>
                    <a:pt x="681" y="584"/>
                    <a:pt x="680" y="582"/>
                  </a:cubicBezTo>
                  <a:cubicBezTo>
                    <a:pt x="672" y="582"/>
                    <a:pt x="667" y="579"/>
                    <a:pt x="666" y="573"/>
                  </a:cubicBezTo>
                  <a:cubicBezTo>
                    <a:pt x="673" y="563"/>
                    <a:pt x="687" y="562"/>
                    <a:pt x="685" y="550"/>
                  </a:cubicBezTo>
                  <a:cubicBezTo>
                    <a:pt x="684" y="546"/>
                    <a:pt x="677" y="544"/>
                    <a:pt x="677" y="539"/>
                  </a:cubicBezTo>
                  <a:cubicBezTo>
                    <a:pt x="676" y="531"/>
                    <a:pt x="690" y="530"/>
                    <a:pt x="687" y="521"/>
                  </a:cubicBezTo>
                  <a:cubicBezTo>
                    <a:pt x="680" y="521"/>
                    <a:pt x="678" y="529"/>
                    <a:pt x="673" y="527"/>
                  </a:cubicBezTo>
                  <a:cubicBezTo>
                    <a:pt x="672" y="522"/>
                    <a:pt x="677" y="521"/>
                    <a:pt x="674" y="516"/>
                  </a:cubicBezTo>
                  <a:cubicBezTo>
                    <a:pt x="663" y="512"/>
                    <a:pt x="646" y="528"/>
                    <a:pt x="635" y="516"/>
                  </a:cubicBezTo>
                  <a:cubicBezTo>
                    <a:pt x="631" y="521"/>
                    <a:pt x="623" y="519"/>
                    <a:pt x="619" y="515"/>
                  </a:cubicBezTo>
                  <a:cubicBezTo>
                    <a:pt x="615" y="521"/>
                    <a:pt x="608" y="518"/>
                    <a:pt x="602" y="522"/>
                  </a:cubicBezTo>
                  <a:cubicBezTo>
                    <a:pt x="590" y="516"/>
                    <a:pt x="573" y="518"/>
                    <a:pt x="559" y="518"/>
                  </a:cubicBezTo>
                  <a:cubicBezTo>
                    <a:pt x="545" y="519"/>
                    <a:pt x="529" y="519"/>
                    <a:pt x="523" y="529"/>
                  </a:cubicBezTo>
                  <a:cubicBezTo>
                    <a:pt x="505" y="526"/>
                    <a:pt x="499" y="548"/>
                    <a:pt x="484" y="534"/>
                  </a:cubicBezTo>
                  <a:cubicBezTo>
                    <a:pt x="475" y="537"/>
                    <a:pt x="470" y="529"/>
                    <a:pt x="462" y="534"/>
                  </a:cubicBezTo>
                  <a:cubicBezTo>
                    <a:pt x="457" y="531"/>
                    <a:pt x="455" y="526"/>
                    <a:pt x="452" y="520"/>
                  </a:cubicBezTo>
                  <a:cubicBezTo>
                    <a:pt x="446" y="520"/>
                    <a:pt x="446" y="520"/>
                    <a:pt x="446" y="520"/>
                  </a:cubicBezTo>
                  <a:cubicBezTo>
                    <a:pt x="436" y="536"/>
                    <a:pt x="428" y="552"/>
                    <a:pt x="406" y="555"/>
                  </a:cubicBezTo>
                  <a:cubicBezTo>
                    <a:pt x="394" y="554"/>
                    <a:pt x="392" y="564"/>
                    <a:pt x="383" y="567"/>
                  </a:cubicBezTo>
                  <a:cubicBezTo>
                    <a:pt x="382" y="577"/>
                    <a:pt x="373" y="580"/>
                    <a:pt x="369" y="587"/>
                  </a:cubicBezTo>
                  <a:cubicBezTo>
                    <a:pt x="370" y="593"/>
                    <a:pt x="367" y="596"/>
                    <a:pt x="365" y="598"/>
                  </a:cubicBezTo>
                  <a:cubicBezTo>
                    <a:pt x="367" y="603"/>
                    <a:pt x="365" y="608"/>
                    <a:pt x="363" y="611"/>
                  </a:cubicBezTo>
                  <a:cubicBezTo>
                    <a:pt x="353" y="614"/>
                    <a:pt x="353" y="626"/>
                    <a:pt x="340" y="626"/>
                  </a:cubicBezTo>
                  <a:cubicBezTo>
                    <a:pt x="336" y="635"/>
                    <a:pt x="323" y="638"/>
                    <a:pt x="311" y="636"/>
                  </a:cubicBezTo>
                  <a:cubicBezTo>
                    <a:pt x="303" y="642"/>
                    <a:pt x="302" y="655"/>
                    <a:pt x="292" y="659"/>
                  </a:cubicBezTo>
                  <a:cubicBezTo>
                    <a:pt x="287" y="658"/>
                    <a:pt x="286" y="658"/>
                    <a:pt x="282" y="659"/>
                  </a:cubicBezTo>
                  <a:cubicBezTo>
                    <a:pt x="282" y="667"/>
                    <a:pt x="277" y="670"/>
                    <a:pt x="273" y="674"/>
                  </a:cubicBezTo>
                  <a:cubicBezTo>
                    <a:pt x="273" y="684"/>
                    <a:pt x="273" y="684"/>
                    <a:pt x="273" y="684"/>
                  </a:cubicBezTo>
                  <a:cubicBezTo>
                    <a:pt x="267" y="688"/>
                    <a:pt x="263" y="695"/>
                    <a:pt x="255" y="696"/>
                  </a:cubicBezTo>
                  <a:cubicBezTo>
                    <a:pt x="252" y="705"/>
                    <a:pt x="246" y="711"/>
                    <a:pt x="242" y="719"/>
                  </a:cubicBezTo>
                  <a:cubicBezTo>
                    <a:pt x="233" y="723"/>
                    <a:pt x="230" y="729"/>
                    <a:pt x="230" y="738"/>
                  </a:cubicBezTo>
                  <a:cubicBezTo>
                    <a:pt x="229" y="745"/>
                    <a:pt x="233" y="751"/>
                    <a:pt x="234" y="755"/>
                  </a:cubicBezTo>
                  <a:cubicBezTo>
                    <a:pt x="234" y="761"/>
                    <a:pt x="229" y="767"/>
                    <a:pt x="228" y="773"/>
                  </a:cubicBezTo>
                  <a:cubicBezTo>
                    <a:pt x="227" y="779"/>
                    <a:pt x="230" y="785"/>
                    <a:pt x="230" y="791"/>
                  </a:cubicBezTo>
                  <a:cubicBezTo>
                    <a:pt x="228" y="807"/>
                    <a:pt x="214" y="817"/>
                    <a:pt x="215" y="834"/>
                  </a:cubicBezTo>
                  <a:cubicBezTo>
                    <a:pt x="213" y="838"/>
                    <a:pt x="204" y="841"/>
                    <a:pt x="203" y="848"/>
                  </a:cubicBezTo>
                  <a:cubicBezTo>
                    <a:pt x="202" y="853"/>
                    <a:pt x="209" y="862"/>
                    <a:pt x="208" y="872"/>
                  </a:cubicBezTo>
                  <a:cubicBezTo>
                    <a:pt x="207" y="878"/>
                    <a:pt x="202" y="883"/>
                    <a:pt x="203" y="887"/>
                  </a:cubicBezTo>
                  <a:cubicBezTo>
                    <a:pt x="203" y="892"/>
                    <a:pt x="208" y="895"/>
                    <a:pt x="210" y="897"/>
                  </a:cubicBezTo>
                  <a:cubicBezTo>
                    <a:pt x="209" y="899"/>
                    <a:pt x="209" y="901"/>
                    <a:pt x="210" y="903"/>
                  </a:cubicBezTo>
                  <a:cubicBezTo>
                    <a:pt x="212" y="905"/>
                    <a:pt x="215" y="902"/>
                    <a:pt x="217" y="905"/>
                  </a:cubicBezTo>
                  <a:cubicBezTo>
                    <a:pt x="217" y="917"/>
                    <a:pt x="222" y="924"/>
                    <a:pt x="228" y="929"/>
                  </a:cubicBezTo>
                  <a:cubicBezTo>
                    <a:pt x="228" y="943"/>
                    <a:pt x="249" y="953"/>
                    <a:pt x="242" y="971"/>
                  </a:cubicBezTo>
                  <a:cubicBezTo>
                    <a:pt x="246" y="980"/>
                    <a:pt x="248" y="990"/>
                    <a:pt x="253" y="997"/>
                  </a:cubicBezTo>
                  <a:cubicBezTo>
                    <a:pt x="255" y="999"/>
                    <a:pt x="258" y="999"/>
                    <a:pt x="259" y="1000"/>
                  </a:cubicBezTo>
                  <a:cubicBezTo>
                    <a:pt x="265" y="1005"/>
                    <a:pt x="269" y="1015"/>
                    <a:pt x="276" y="1021"/>
                  </a:cubicBezTo>
                  <a:cubicBezTo>
                    <a:pt x="279" y="1024"/>
                    <a:pt x="281" y="1024"/>
                    <a:pt x="283" y="1027"/>
                  </a:cubicBezTo>
                  <a:cubicBezTo>
                    <a:pt x="287" y="1032"/>
                    <a:pt x="289" y="1039"/>
                    <a:pt x="293" y="1044"/>
                  </a:cubicBezTo>
                  <a:cubicBezTo>
                    <a:pt x="297" y="1048"/>
                    <a:pt x="304" y="1051"/>
                    <a:pt x="308" y="1055"/>
                  </a:cubicBezTo>
                  <a:cubicBezTo>
                    <a:pt x="312" y="1058"/>
                    <a:pt x="314" y="1062"/>
                    <a:pt x="317" y="1065"/>
                  </a:cubicBezTo>
                  <a:cubicBezTo>
                    <a:pt x="325" y="1070"/>
                    <a:pt x="331" y="1063"/>
                    <a:pt x="343" y="1062"/>
                  </a:cubicBezTo>
                  <a:cubicBezTo>
                    <a:pt x="350" y="1061"/>
                    <a:pt x="357" y="1063"/>
                    <a:pt x="363" y="1064"/>
                  </a:cubicBezTo>
                  <a:cubicBezTo>
                    <a:pt x="374" y="1064"/>
                    <a:pt x="378" y="1062"/>
                    <a:pt x="384" y="1068"/>
                  </a:cubicBezTo>
                  <a:cubicBezTo>
                    <a:pt x="387" y="1069"/>
                    <a:pt x="389" y="1068"/>
                    <a:pt x="391" y="1067"/>
                  </a:cubicBezTo>
                  <a:cubicBezTo>
                    <a:pt x="394" y="1075"/>
                    <a:pt x="405" y="1075"/>
                    <a:pt x="409" y="1082"/>
                  </a:cubicBezTo>
                  <a:cubicBezTo>
                    <a:pt x="425" y="1078"/>
                    <a:pt x="440" y="1078"/>
                    <a:pt x="452" y="1070"/>
                  </a:cubicBezTo>
                  <a:cubicBezTo>
                    <a:pt x="460" y="1078"/>
                    <a:pt x="467" y="1068"/>
                    <a:pt x="474" y="1067"/>
                  </a:cubicBezTo>
                  <a:cubicBezTo>
                    <a:pt x="477" y="1067"/>
                    <a:pt x="481" y="1070"/>
                    <a:pt x="486" y="1069"/>
                  </a:cubicBezTo>
                  <a:cubicBezTo>
                    <a:pt x="489" y="1069"/>
                    <a:pt x="491" y="1067"/>
                    <a:pt x="493" y="1067"/>
                  </a:cubicBezTo>
                  <a:cubicBezTo>
                    <a:pt x="496" y="1068"/>
                    <a:pt x="498" y="1071"/>
                    <a:pt x="501" y="1071"/>
                  </a:cubicBezTo>
                  <a:cubicBezTo>
                    <a:pt x="504" y="1072"/>
                    <a:pt x="507" y="1070"/>
                    <a:pt x="509" y="1069"/>
                  </a:cubicBezTo>
                  <a:cubicBezTo>
                    <a:pt x="525" y="1069"/>
                    <a:pt x="539" y="1084"/>
                    <a:pt x="543" y="1095"/>
                  </a:cubicBezTo>
                  <a:cubicBezTo>
                    <a:pt x="547" y="1108"/>
                    <a:pt x="548" y="1115"/>
                    <a:pt x="568" y="1113"/>
                  </a:cubicBezTo>
                  <a:cubicBezTo>
                    <a:pt x="569" y="1112"/>
                    <a:pt x="568" y="1109"/>
                    <a:pt x="571" y="1110"/>
                  </a:cubicBezTo>
                  <a:cubicBezTo>
                    <a:pt x="580" y="1109"/>
                    <a:pt x="585" y="1116"/>
                    <a:pt x="592" y="1115"/>
                  </a:cubicBezTo>
                  <a:cubicBezTo>
                    <a:pt x="597" y="1115"/>
                    <a:pt x="604" y="1108"/>
                    <a:pt x="609" y="1115"/>
                  </a:cubicBezTo>
                  <a:cubicBezTo>
                    <a:pt x="610" y="1128"/>
                    <a:pt x="627" y="1131"/>
                    <a:pt x="629" y="1141"/>
                  </a:cubicBezTo>
                  <a:cubicBezTo>
                    <a:pt x="631" y="1149"/>
                    <a:pt x="623" y="1151"/>
                    <a:pt x="625" y="1162"/>
                  </a:cubicBezTo>
                  <a:cubicBezTo>
                    <a:pt x="623" y="1165"/>
                    <a:pt x="619" y="1166"/>
                    <a:pt x="617" y="1169"/>
                  </a:cubicBezTo>
                  <a:cubicBezTo>
                    <a:pt x="618" y="1175"/>
                    <a:pt x="623" y="1177"/>
                    <a:pt x="623" y="1184"/>
                  </a:cubicBezTo>
                  <a:cubicBezTo>
                    <a:pt x="622" y="1185"/>
                    <a:pt x="619" y="1184"/>
                    <a:pt x="618" y="1186"/>
                  </a:cubicBezTo>
                  <a:cubicBezTo>
                    <a:pt x="619" y="1196"/>
                    <a:pt x="616" y="1203"/>
                    <a:pt x="607" y="1203"/>
                  </a:cubicBezTo>
                  <a:cubicBezTo>
                    <a:pt x="608" y="1210"/>
                    <a:pt x="613" y="1213"/>
                    <a:pt x="618" y="1216"/>
                  </a:cubicBezTo>
                  <a:cubicBezTo>
                    <a:pt x="619" y="1219"/>
                    <a:pt x="617" y="1219"/>
                    <a:pt x="618" y="1222"/>
                  </a:cubicBezTo>
                  <a:cubicBezTo>
                    <a:pt x="622" y="1224"/>
                    <a:pt x="625" y="1227"/>
                    <a:pt x="626" y="1233"/>
                  </a:cubicBezTo>
                  <a:cubicBezTo>
                    <a:pt x="633" y="1233"/>
                    <a:pt x="632" y="1237"/>
                    <a:pt x="635" y="1240"/>
                  </a:cubicBezTo>
                  <a:cubicBezTo>
                    <a:pt x="637" y="1243"/>
                    <a:pt x="642" y="1244"/>
                    <a:pt x="643" y="1246"/>
                  </a:cubicBezTo>
                  <a:cubicBezTo>
                    <a:pt x="646" y="1249"/>
                    <a:pt x="646" y="1252"/>
                    <a:pt x="648" y="1255"/>
                  </a:cubicBezTo>
                  <a:cubicBezTo>
                    <a:pt x="653" y="1260"/>
                    <a:pt x="661" y="1262"/>
                    <a:pt x="666" y="1267"/>
                  </a:cubicBezTo>
                  <a:cubicBezTo>
                    <a:pt x="673" y="1274"/>
                    <a:pt x="674" y="1284"/>
                    <a:pt x="681" y="1291"/>
                  </a:cubicBezTo>
                  <a:cubicBezTo>
                    <a:pt x="681" y="1294"/>
                    <a:pt x="678" y="1293"/>
                    <a:pt x="679" y="1297"/>
                  </a:cubicBezTo>
                  <a:cubicBezTo>
                    <a:pt x="682" y="1301"/>
                    <a:pt x="688" y="1303"/>
                    <a:pt x="688" y="1311"/>
                  </a:cubicBezTo>
                  <a:cubicBezTo>
                    <a:pt x="693" y="1317"/>
                    <a:pt x="701" y="1320"/>
                    <a:pt x="700" y="1331"/>
                  </a:cubicBezTo>
                  <a:cubicBezTo>
                    <a:pt x="699" y="1335"/>
                    <a:pt x="695" y="1335"/>
                    <a:pt x="694" y="1339"/>
                  </a:cubicBezTo>
                  <a:cubicBezTo>
                    <a:pt x="696" y="1352"/>
                    <a:pt x="713" y="1360"/>
                    <a:pt x="712" y="1373"/>
                  </a:cubicBezTo>
                  <a:cubicBezTo>
                    <a:pt x="711" y="1378"/>
                    <a:pt x="705" y="1379"/>
                    <a:pt x="707" y="1385"/>
                  </a:cubicBezTo>
                  <a:cubicBezTo>
                    <a:pt x="697" y="1384"/>
                    <a:pt x="698" y="1394"/>
                    <a:pt x="689" y="1393"/>
                  </a:cubicBezTo>
                  <a:cubicBezTo>
                    <a:pt x="689" y="1403"/>
                    <a:pt x="684" y="1405"/>
                    <a:pt x="687" y="1415"/>
                  </a:cubicBezTo>
                  <a:cubicBezTo>
                    <a:pt x="680" y="1417"/>
                    <a:pt x="683" y="1423"/>
                    <a:pt x="677" y="1427"/>
                  </a:cubicBezTo>
                  <a:cubicBezTo>
                    <a:pt x="679" y="1436"/>
                    <a:pt x="676" y="1443"/>
                    <a:pt x="679" y="1451"/>
                  </a:cubicBezTo>
                  <a:cubicBezTo>
                    <a:pt x="683" y="1459"/>
                    <a:pt x="695" y="1464"/>
                    <a:pt x="704" y="1475"/>
                  </a:cubicBezTo>
                  <a:cubicBezTo>
                    <a:pt x="706" y="1477"/>
                    <a:pt x="706" y="1479"/>
                    <a:pt x="708" y="1481"/>
                  </a:cubicBezTo>
                  <a:cubicBezTo>
                    <a:pt x="712" y="1487"/>
                    <a:pt x="718" y="1489"/>
                    <a:pt x="721" y="1493"/>
                  </a:cubicBezTo>
                  <a:cubicBezTo>
                    <a:pt x="722" y="1494"/>
                    <a:pt x="721" y="1496"/>
                    <a:pt x="722" y="1497"/>
                  </a:cubicBezTo>
                  <a:cubicBezTo>
                    <a:pt x="726" y="1500"/>
                    <a:pt x="731" y="1499"/>
                    <a:pt x="733" y="1503"/>
                  </a:cubicBezTo>
                  <a:cubicBezTo>
                    <a:pt x="735" y="1508"/>
                    <a:pt x="733" y="1515"/>
                    <a:pt x="735" y="1521"/>
                  </a:cubicBezTo>
                  <a:cubicBezTo>
                    <a:pt x="736" y="1524"/>
                    <a:pt x="740" y="1527"/>
                    <a:pt x="741" y="1529"/>
                  </a:cubicBezTo>
                  <a:cubicBezTo>
                    <a:pt x="742" y="1530"/>
                    <a:pt x="740" y="1533"/>
                    <a:pt x="740" y="1534"/>
                  </a:cubicBezTo>
                  <a:cubicBezTo>
                    <a:pt x="741" y="1535"/>
                    <a:pt x="744" y="1541"/>
                    <a:pt x="744" y="1542"/>
                  </a:cubicBezTo>
                  <a:cubicBezTo>
                    <a:pt x="746" y="1545"/>
                    <a:pt x="751" y="1550"/>
                    <a:pt x="753" y="1552"/>
                  </a:cubicBezTo>
                  <a:cubicBezTo>
                    <a:pt x="762" y="1563"/>
                    <a:pt x="783" y="1564"/>
                    <a:pt x="783" y="1578"/>
                  </a:cubicBezTo>
                  <a:cubicBezTo>
                    <a:pt x="788" y="1583"/>
                    <a:pt x="799" y="1582"/>
                    <a:pt x="800" y="1592"/>
                  </a:cubicBezTo>
                  <a:cubicBezTo>
                    <a:pt x="800" y="1594"/>
                    <a:pt x="797" y="1594"/>
                    <a:pt x="794" y="1594"/>
                  </a:cubicBezTo>
                  <a:cubicBezTo>
                    <a:pt x="794" y="1599"/>
                    <a:pt x="800" y="1599"/>
                    <a:pt x="801" y="1604"/>
                  </a:cubicBezTo>
                  <a:cubicBezTo>
                    <a:pt x="808" y="1602"/>
                    <a:pt x="813" y="1607"/>
                    <a:pt x="820" y="1608"/>
                  </a:cubicBezTo>
                  <a:cubicBezTo>
                    <a:pt x="833" y="1609"/>
                    <a:pt x="848" y="1604"/>
                    <a:pt x="860" y="1603"/>
                  </a:cubicBezTo>
                  <a:cubicBezTo>
                    <a:pt x="881" y="1601"/>
                    <a:pt x="902" y="1604"/>
                    <a:pt x="921" y="1600"/>
                  </a:cubicBezTo>
                  <a:cubicBezTo>
                    <a:pt x="940" y="1597"/>
                    <a:pt x="954" y="1584"/>
                    <a:pt x="970" y="1580"/>
                  </a:cubicBezTo>
                  <a:cubicBezTo>
                    <a:pt x="984" y="1576"/>
                    <a:pt x="990" y="1567"/>
                    <a:pt x="1000" y="1562"/>
                  </a:cubicBezTo>
                  <a:cubicBezTo>
                    <a:pt x="1004" y="1559"/>
                    <a:pt x="1011" y="1559"/>
                    <a:pt x="1016" y="1556"/>
                  </a:cubicBezTo>
                  <a:cubicBezTo>
                    <a:pt x="1024" y="1552"/>
                    <a:pt x="1029" y="1542"/>
                    <a:pt x="1033" y="1535"/>
                  </a:cubicBezTo>
                  <a:cubicBezTo>
                    <a:pt x="1034" y="1532"/>
                    <a:pt x="1029" y="1534"/>
                    <a:pt x="1030" y="1530"/>
                  </a:cubicBezTo>
                  <a:cubicBezTo>
                    <a:pt x="1046" y="1521"/>
                    <a:pt x="1066" y="1516"/>
                    <a:pt x="1082" y="1507"/>
                  </a:cubicBezTo>
                  <a:cubicBezTo>
                    <a:pt x="1083" y="1504"/>
                    <a:pt x="1080" y="1504"/>
                    <a:pt x="1080" y="1501"/>
                  </a:cubicBezTo>
                  <a:cubicBezTo>
                    <a:pt x="1086" y="1499"/>
                    <a:pt x="1087" y="1493"/>
                    <a:pt x="1089" y="1487"/>
                  </a:cubicBezTo>
                  <a:cubicBezTo>
                    <a:pt x="1085" y="1486"/>
                    <a:pt x="1085" y="1482"/>
                    <a:pt x="1082" y="1479"/>
                  </a:cubicBezTo>
                  <a:cubicBezTo>
                    <a:pt x="1084" y="1478"/>
                    <a:pt x="1085" y="1476"/>
                    <a:pt x="1085" y="1474"/>
                  </a:cubicBezTo>
                  <a:cubicBezTo>
                    <a:pt x="1084" y="1472"/>
                    <a:pt x="1081" y="1472"/>
                    <a:pt x="1079" y="1471"/>
                  </a:cubicBezTo>
                  <a:cubicBezTo>
                    <a:pt x="1081" y="1463"/>
                    <a:pt x="1089" y="1464"/>
                    <a:pt x="1095" y="1460"/>
                  </a:cubicBezTo>
                  <a:cubicBezTo>
                    <a:pt x="1098" y="1458"/>
                    <a:pt x="1100" y="1454"/>
                    <a:pt x="1103" y="1451"/>
                  </a:cubicBezTo>
                  <a:cubicBezTo>
                    <a:pt x="1108" y="1449"/>
                    <a:pt x="1114" y="1448"/>
                    <a:pt x="1119" y="1445"/>
                  </a:cubicBezTo>
                  <a:cubicBezTo>
                    <a:pt x="1122" y="1442"/>
                    <a:pt x="1124" y="1437"/>
                    <a:pt x="1127" y="1434"/>
                  </a:cubicBezTo>
                  <a:cubicBezTo>
                    <a:pt x="1142" y="1423"/>
                    <a:pt x="1160" y="1422"/>
                    <a:pt x="1174" y="1412"/>
                  </a:cubicBezTo>
                  <a:cubicBezTo>
                    <a:pt x="1179" y="1409"/>
                    <a:pt x="1188" y="1400"/>
                    <a:pt x="1193" y="1395"/>
                  </a:cubicBezTo>
                  <a:cubicBezTo>
                    <a:pt x="1200" y="1387"/>
                    <a:pt x="1197" y="1383"/>
                    <a:pt x="1197" y="1373"/>
                  </a:cubicBezTo>
                  <a:cubicBezTo>
                    <a:pt x="1197" y="1369"/>
                    <a:pt x="1198" y="1363"/>
                    <a:pt x="1199" y="1360"/>
                  </a:cubicBezTo>
                  <a:cubicBezTo>
                    <a:pt x="1202" y="1350"/>
                    <a:pt x="1203" y="1342"/>
                    <a:pt x="1208" y="1331"/>
                  </a:cubicBezTo>
                  <a:cubicBezTo>
                    <a:pt x="1207" y="1325"/>
                    <a:pt x="1197" y="1327"/>
                    <a:pt x="1194" y="1323"/>
                  </a:cubicBezTo>
                  <a:cubicBezTo>
                    <a:pt x="1197" y="1312"/>
                    <a:pt x="1186" y="1305"/>
                    <a:pt x="1194" y="1299"/>
                  </a:cubicBezTo>
                  <a:cubicBezTo>
                    <a:pt x="1188" y="1292"/>
                    <a:pt x="1199" y="1289"/>
                    <a:pt x="1197" y="1281"/>
                  </a:cubicBezTo>
                  <a:cubicBezTo>
                    <a:pt x="1194" y="1279"/>
                    <a:pt x="1187" y="1280"/>
                    <a:pt x="1186" y="1276"/>
                  </a:cubicBezTo>
                  <a:cubicBezTo>
                    <a:pt x="1190" y="1267"/>
                    <a:pt x="1190" y="1259"/>
                    <a:pt x="1194" y="1251"/>
                  </a:cubicBezTo>
                  <a:cubicBezTo>
                    <a:pt x="1198" y="1245"/>
                    <a:pt x="1210" y="1240"/>
                    <a:pt x="1208" y="1230"/>
                  </a:cubicBezTo>
                  <a:cubicBezTo>
                    <a:pt x="1210" y="1227"/>
                    <a:pt x="1213" y="1224"/>
                    <a:pt x="1216" y="1222"/>
                  </a:cubicBezTo>
                  <a:cubicBezTo>
                    <a:pt x="1216" y="1219"/>
                    <a:pt x="1215" y="1219"/>
                    <a:pt x="1215" y="1216"/>
                  </a:cubicBezTo>
                  <a:cubicBezTo>
                    <a:pt x="1221" y="1213"/>
                    <a:pt x="1226" y="1209"/>
                    <a:pt x="1228" y="1202"/>
                  </a:cubicBezTo>
                  <a:cubicBezTo>
                    <a:pt x="1231" y="1202"/>
                    <a:pt x="1232" y="1200"/>
                    <a:pt x="1236" y="1200"/>
                  </a:cubicBezTo>
                  <a:cubicBezTo>
                    <a:pt x="1244" y="1193"/>
                    <a:pt x="1246" y="1183"/>
                    <a:pt x="1253" y="1175"/>
                  </a:cubicBezTo>
                  <a:cubicBezTo>
                    <a:pt x="1257" y="1170"/>
                    <a:pt x="1264" y="1167"/>
                    <a:pt x="1267" y="1163"/>
                  </a:cubicBezTo>
                  <a:cubicBezTo>
                    <a:pt x="1269" y="1160"/>
                    <a:pt x="1269" y="1157"/>
                    <a:pt x="1271" y="1154"/>
                  </a:cubicBezTo>
                  <a:cubicBezTo>
                    <a:pt x="1273" y="1152"/>
                    <a:pt x="1276" y="1151"/>
                    <a:pt x="1278" y="1149"/>
                  </a:cubicBezTo>
                  <a:cubicBezTo>
                    <a:pt x="1304" y="1121"/>
                    <a:pt x="1338" y="1099"/>
                    <a:pt x="1353" y="1061"/>
                  </a:cubicBezTo>
                  <a:cubicBezTo>
                    <a:pt x="1355" y="1054"/>
                    <a:pt x="1362" y="1049"/>
                    <a:pt x="1365" y="1042"/>
                  </a:cubicBezTo>
                  <a:cubicBezTo>
                    <a:pt x="1368" y="1037"/>
                    <a:pt x="1367" y="1031"/>
                    <a:pt x="1368" y="1025"/>
                  </a:cubicBezTo>
                  <a:cubicBezTo>
                    <a:pt x="1369" y="1021"/>
                    <a:pt x="1376" y="1015"/>
                    <a:pt x="1378" y="1007"/>
                  </a:cubicBezTo>
                  <a:cubicBezTo>
                    <a:pt x="1381" y="995"/>
                    <a:pt x="1382" y="986"/>
                    <a:pt x="1388" y="981"/>
                  </a:cubicBezTo>
                  <a:cubicBezTo>
                    <a:pt x="1388" y="974"/>
                    <a:pt x="1389" y="967"/>
                    <a:pt x="1387" y="961"/>
                  </a:cubicBezTo>
                  <a:cubicBezTo>
                    <a:pt x="1388" y="958"/>
                    <a:pt x="1391" y="958"/>
                    <a:pt x="1391" y="954"/>
                  </a:cubicBezTo>
                  <a:cubicBezTo>
                    <a:pt x="1390" y="946"/>
                    <a:pt x="1389" y="937"/>
                    <a:pt x="1392" y="931"/>
                  </a:cubicBezTo>
                  <a:cubicBezTo>
                    <a:pt x="1391" y="931"/>
                    <a:pt x="1390" y="930"/>
                    <a:pt x="1389" y="928"/>
                  </a:cubicBezTo>
                  <a:cubicBezTo>
                    <a:pt x="1386" y="928"/>
                    <a:pt x="1385" y="929"/>
                    <a:pt x="1382" y="929"/>
                  </a:cubicBezTo>
                  <a:cubicBezTo>
                    <a:pt x="1378" y="948"/>
                    <a:pt x="1351" y="944"/>
                    <a:pt x="1341" y="956"/>
                  </a:cubicBezTo>
                  <a:cubicBezTo>
                    <a:pt x="1338" y="957"/>
                    <a:pt x="1339" y="954"/>
                    <a:pt x="1336" y="954"/>
                  </a:cubicBezTo>
                  <a:cubicBezTo>
                    <a:pt x="1329" y="958"/>
                    <a:pt x="1326" y="965"/>
                    <a:pt x="1319" y="969"/>
                  </a:cubicBezTo>
                  <a:cubicBezTo>
                    <a:pt x="1316" y="968"/>
                    <a:pt x="1315" y="966"/>
                    <a:pt x="1311" y="967"/>
                  </a:cubicBezTo>
                  <a:cubicBezTo>
                    <a:pt x="1301" y="972"/>
                    <a:pt x="1295" y="982"/>
                    <a:pt x="1282" y="979"/>
                  </a:cubicBezTo>
                  <a:cubicBezTo>
                    <a:pt x="1273" y="977"/>
                    <a:pt x="1270" y="964"/>
                    <a:pt x="1261" y="963"/>
                  </a:cubicBezTo>
                  <a:cubicBezTo>
                    <a:pt x="1271" y="953"/>
                    <a:pt x="1263" y="938"/>
                    <a:pt x="1248" y="938"/>
                  </a:cubicBezTo>
                  <a:cubicBezTo>
                    <a:pt x="1248" y="935"/>
                    <a:pt x="1247" y="932"/>
                    <a:pt x="1245" y="929"/>
                  </a:cubicBezTo>
                  <a:cubicBezTo>
                    <a:pt x="1239" y="930"/>
                    <a:pt x="1236" y="927"/>
                    <a:pt x="1232" y="925"/>
                  </a:cubicBezTo>
                  <a:cubicBezTo>
                    <a:pt x="1230" y="922"/>
                    <a:pt x="1230" y="916"/>
                    <a:pt x="1227" y="914"/>
                  </a:cubicBezTo>
                  <a:cubicBezTo>
                    <a:pt x="1224" y="912"/>
                    <a:pt x="1222" y="913"/>
                    <a:pt x="1218" y="914"/>
                  </a:cubicBezTo>
                  <a:cubicBezTo>
                    <a:pt x="1216" y="913"/>
                    <a:pt x="1214" y="910"/>
                    <a:pt x="1211" y="909"/>
                  </a:cubicBezTo>
                  <a:cubicBezTo>
                    <a:pt x="1200" y="909"/>
                    <a:pt x="1191" y="903"/>
                    <a:pt x="1188" y="894"/>
                  </a:cubicBezTo>
                  <a:cubicBezTo>
                    <a:pt x="1186" y="888"/>
                    <a:pt x="1188" y="882"/>
                    <a:pt x="1186" y="877"/>
                  </a:cubicBezTo>
                  <a:cubicBezTo>
                    <a:pt x="1181" y="865"/>
                    <a:pt x="1173" y="858"/>
                    <a:pt x="1162" y="853"/>
                  </a:cubicBezTo>
                  <a:cubicBezTo>
                    <a:pt x="1161" y="852"/>
                    <a:pt x="1162" y="848"/>
                    <a:pt x="1159" y="849"/>
                  </a:cubicBezTo>
                  <a:cubicBezTo>
                    <a:pt x="1156" y="846"/>
                    <a:pt x="1152" y="850"/>
                    <a:pt x="1149" y="848"/>
                  </a:cubicBezTo>
                  <a:cubicBezTo>
                    <a:pt x="1149" y="833"/>
                    <a:pt x="1138" y="819"/>
                    <a:pt x="1142" y="805"/>
                  </a:cubicBezTo>
                  <a:cubicBezTo>
                    <a:pt x="1140" y="802"/>
                    <a:pt x="1136" y="801"/>
                    <a:pt x="1135" y="797"/>
                  </a:cubicBezTo>
                  <a:cubicBezTo>
                    <a:pt x="1135" y="784"/>
                    <a:pt x="1124" y="781"/>
                    <a:pt x="1114" y="778"/>
                  </a:cubicBezTo>
                  <a:cubicBezTo>
                    <a:pt x="1108" y="772"/>
                    <a:pt x="1104" y="760"/>
                    <a:pt x="1106" y="753"/>
                  </a:cubicBezTo>
                  <a:cubicBezTo>
                    <a:pt x="1094" y="749"/>
                    <a:pt x="1092" y="733"/>
                    <a:pt x="1084" y="723"/>
                  </a:cubicBezTo>
                  <a:cubicBezTo>
                    <a:pt x="1080" y="718"/>
                    <a:pt x="1074" y="715"/>
                    <a:pt x="1072" y="709"/>
                  </a:cubicBezTo>
                  <a:cubicBezTo>
                    <a:pt x="1070" y="706"/>
                    <a:pt x="1071" y="703"/>
                    <a:pt x="1070" y="700"/>
                  </a:cubicBezTo>
                  <a:cubicBezTo>
                    <a:pt x="1067" y="695"/>
                    <a:pt x="1059" y="696"/>
                    <a:pt x="1060" y="689"/>
                  </a:cubicBezTo>
                  <a:cubicBezTo>
                    <a:pt x="1064" y="692"/>
                    <a:pt x="1066" y="696"/>
                    <a:pt x="1074" y="695"/>
                  </a:cubicBezTo>
                  <a:cubicBezTo>
                    <a:pt x="1075" y="687"/>
                    <a:pt x="1067" y="675"/>
                    <a:pt x="1074" y="670"/>
                  </a:cubicBezTo>
                  <a:cubicBezTo>
                    <a:pt x="1074" y="687"/>
                    <a:pt x="1082" y="694"/>
                    <a:pt x="1096" y="697"/>
                  </a:cubicBezTo>
                  <a:cubicBezTo>
                    <a:pt x="1099" y="702"/>
                    <a:pt x="1101" y="710"/>
                    <a:pt x="1106" y="715"/>
                  </a:cubicBezTo>
                  <a:cubicBezTo>
                    <a:pt x="1111" y="721"/>
                    <a:pt x="1117" y="722"/>
                    <a:pt x="1122" y="726"/>
                  </a:cubicBezTo>
                  <a:cubicBezTo>
                    <a:pt x="1127" y="731"/>
                    <a:pt x="1127" y="739"/>
                    <a:pt x="1131" y="746"/>
                  </a:cubicBezTo>
                  <a:cubicBezTo>
                    <a:pt x="1136" y="754"/>
                    <a:pt x="1143" y="749"/>
                    <a:pt x="1150" y="751"/>
                  </a:cubicBezTo>
                  <a:cubicBezTo>
                    <a:pt x="1174" y="756"/>
                    <a:pt x="1166" y="802"/>
                    <a:pt x="1188" y="811"/>
                  </a:cubicBezTo>
                  <a:cubicBezTo>
                    <a:pt x="1191" y="811"/>
                    <a:pt x="1193" y="810"/>
                    <a:pt x="1197" y="810"/>
                  </a:cubicBezTo>
                  <a:cubicBezTo>
                    <a:pt x="1201" y="812"/>
                    <a:pt x="1206" y="818"/>
                    <a:pt x="1210" y="823"/>
                  </a:cubicBezTo>
                  <a:cubicBezTo>
                    <a:pt x="1215" y="829"/>
                    <a:pt x="1221" y="838"/>
                    <a:pt x="1228" y="847"/>
                  </a:cubicBezTo>
                  <a:cubicBezTo>
                    <a:pt x="1240" y="860"/>
                    <a:pt x="1255" y="866"/>
                    <a:pt x="1246" y="889"/>
                  </a:cubicBezTo>
                  <a:cubicBezTo>
                    <a:pt x="1256" y="893"/>
                    <a:pt x="1257" y="910"/>
                    <a:pt x="1254" y="923"/>
                  </a:cubicBezTo>
                  <a:cubicBezTo>
                    <a:pt x="1259" y="927"/>
                    <a:pt x="1264" y="932"/>
                    <a:pt x="1267" y="938"/>
                  </a:cubicBezTo>
                  <a:cubicBezTo>
                    <a:pt x="1274" y="939"/>
                    <a:pt x="1283" y="939"/>
                    <a:pt x="1289" y="935"/>
                  </a:cubicBezTo>
                  <a:cubicBezTo>
                    <a:pt x="1293" y="931"/>
                    <a:pt x="1293" y="921"/>
                    <a:pt x="1299" y="921"/>
                  </a:cubicBezTo>
                  <a:cubicBezTo>
                    <a:pt x="1311" y="920"/>
                    <a:pt x="1318" y="917"/>
                    <a:pt x="1325" y="914"/>
                  </a:cubicBezTo>
                  <a:cubicBezTo>
                    <a:pt x="1329" y="912"/>
                    <a:pt x="1333" y="912"/>
                    <a:pt x="1336" y="911"/>
                  </a:cubicBezTo>
                  <a:cubicBezTo>
                    <a:pt x="1340" y="908"/>
                    <a:pt x="1343" y="900"/>
                    <a:pt x="1348" y="895"/>
                  </a:cubicBezTo>
                  <a:cubicBezTo>
                    <a:pt x="1356" y="887"/>
                    <a:pt x="1362" y="882"/>
                    <a:pt x="1370" y="875"/>
                  </a:cubicBezTo>
                  <a:cubicBezTo>
                    <a:pt x="1377" y="868"/>
                    <a:pt x="1382" y="864"/>
                    <a:pt x="1393" y="863"/>
                  </a:cubicBezTo>
                  <a:cubicBezTo>
                    <a:pt x="1396" y="838"/>
                    <a:pt x="1419" y="832"/>
                    <a:pt x="1434" y="818"/>
                  </a:cubicBezTo>
                  <a:cubicBezTo>
                    <a:pt x="1434" y="814"/>
                    <a:pt x="1433" y="812"/>
                    <a:pt x="1433" y="808"/>
                  </a:cubicBezTo>
                  <a:cubicBezTo>
                    <a:pt x="1439" y="803"/>
                    <a:pt x="1449" y="801"/>
                    <a:pt x="1447" y="788"/>
                  </a:cubicBezTo>
                  <a:cubicBezTo>
                    <a:pt x="1455" y="782"/>
                    <a:pt x="1457" y="771"/>
                    <a:pt x="1455" y="757"/>
                  </a:cubicBezTo>
                  <a:cubicBezTo>
                    <a:pt x="1459" y="758"/>
                    <a:pt x="1461" y="756"/>
                    <a:pt x="1463" y="755"/>
                  </a:cubicBezTo>
                  <a:cubicBezTo>
                    <a:pt x="1460" y="738"/>
                    <a:pt x="1475" y="729"/>
                    <a:pt x="1466" y="712"/>
                  </a:cubicBezTo>
                  <a:cubicBezTo>
                    <a:pt x="1457" y="713"/>
                    <a:pt x="1454" y="700"/>
                    <a:pt x="1447" y="697"/>
                  </a:cubicBezTo>
                  <a:cubicBezTo>
                    <a:pt x="1437" y="692"/>
                    <a:pt x="1426" y="699"/>
                    <a:pt x="1417" y="693"/>
                  </a:cubicBezTo>
                  <a:cubicBezTo>
                    <a:pt x="1406" y="686"/>
                    <a:pt x="1409" y="668"/>
                    <a:pt x="1401" y="658"/>
                  </a:cubicBezTo>
                  <a:cubicBezTo>
                    <a:pt x="1400" y="677"/>
                    <a:pt x="1385" y="685"/>
                    <a:pt x="1387" y="706"/>
                  </a:cubicBezTo>
                  <a:cubicBezTo>
                    <a:pt x="1381" y="709"/>
                    <a:pt x="1377" y="706"/>
                    <a:pt x="1370" y="707"/>
                  </a:cubicBezTo>
                  <a:cubicBezTo>
                    <a:pt x="1365" y="709"/>
                    <a:pt x="1362" y="716"/>
                    <a:pt x="1358" y="715"/>
                  </a:cubicBezTo>
                  <a:cubicBezTo>
                    <a:pt x="1340" y="714"/>
                    <a:pt x="1363" y="674"/>
                    <a:pt x="1338" y="679"/>
                  </a:cubicBezTo>
                  <a:cubicBezTo>
                    <a:pt x="1335" y="685"/>
                    <a:pt x="1344" y="697"/>
                    <a:pt x="1338" y="703"/>
                  </a:cubicBezTo>
                  <a:cubicBezTo>
                    <a:pt x="1334" y="690"/>
                    <a:pt x="1318" y="689"/>
                    <a:pt x="1317" y="673"/>
                  </a:cubicBezTo>
                  <a:cubicBezTo>
                    <a:pt x="1310" y="669"/>
                    <a:pt x="1298" y="668"/>
                    <a:pt x="1298" y="657"/>
                  </a:cubicBezTo>
                  <a:cubicBezTo>
                    <a:pt x="1293" y="654"/>
                    <a:pt x="1290" y="651"/>
                    <a:pt x="1289" y="645"/>
                  </a:cubicBezTo>
                  <a:cubicBezTo>
                    <a:pt x="1284" y="643"/>
                    <a:pt x="1278" y="641"/>
                    <a:pt x="1277" y="635"/>
                  </a:cubicBezTo>
                  <a:cubicBezTo>
                    <a:pt x="1278" y="634"/>
                    <a:pt x="1283" y="635"/>
                    <a:pt x="1285" y="634"/>
                  </a:cubicBezTo>
                  <a:cubicBezTo>
                    <a:pt x="1285" y="627"/>
                    <a:pt x="1285" y="627"/>
                    <a:pt x="1285" y="627"/>
                  </a:cubicBezTo>
                  <a:cubicBezTo>
                    <a:pt x="1290" y="627"/>
                    <a:pt x="1290" y="627"/>
                    <a:pt x="1290" y="627"/>
                  </a:cubicBezTo>
                  <a:cubicBezTo>
                    <a:pt x="1288" y="610"/>
                    <a:pt x="1299" y="620"/>
                    <a:pt x="1306" y="626"/>
                  </a:cubicBezTo>
                  <a:cubicBezTo>
                    <a:pt x="1316" y="635"/>
                    <a:pt x="1327" y="651"/>
                    <a:pt x="1336" y="657"/>
                  </a:cubicBezTo>
                  <a:cubicBezTo>
                    <a:pt x="1352" y="644"/>
                    <a:pt x="1362" y="667"/>
                    <a:pt x="1380" y="666"/>
                  </a:cubicBezTo>
                  <a:cubicBezTo>
                    <a:pt x="1388" y="661"/>
                    <a:pt x="1393" y="652"/>
                    <a:pt x="1401" y="647"/>
                  </a:cubicBezTo>
                  <a:cubicBezTo>
                    <a:pt x="1408" y="652"/>
                    <a:pt x="1412" y="659"/>
                    <a:pt x="1416" y="666"/>
                  </a:cubicBezTo>
                  <a:cubicBezTo>
                    <a:pt x="1429" y="670"/>
                    <a:pt x="1436" y="663"/>
                    <a:pt x="1448" y="668"/>
                  </a:cubicBezTo>
                  <a:cubicBezTo>
                    <a:pt x="1451" y="668"/>
                    <a:pt x="1450" y="664"/>
                    <a:pt x="1455" y="665"/>
                  </a:cubicBezTo>
                  <a:cubicBezTo>
                    <a:pt x="1464" y="670"/>
                    <a:pt x="1468" y="663"/>
                    <a:pt x="1474" y="659"/>
                  </a:cubicBezTo>
                  <a:cubicBezTo>
                    <a:pt x="1479" y="657"/>
                    <a:pt x="1486" y="658"/>
                    <a:pt x="1486" y="652"/>
                  </a:cubicBezTo>
                  <a:cubicBezTo>
                    <a:pt x="1495" y="653"/>
                    <a:pt x="1501" y="644"/>
                    <a:pt x="1508" y="640"/>
                  </a:cubicBezTo>
                  <a:cubicBezTo>
                    <a:pt x="1514" y="642"/>
                    <a:pt x="1516" y="648"/>
                    <a:pt x="1519" y="653"/>
                  </a:cubicBezTo>
                  <a:cubicBezTo>
                    <a:pt x="1523" y="653"/>
                    <a:pt x="1526" y="651"/>
                    <a:pt x="1531" y="652"/>
                  </a:cubicBezTo>
                  <a:cubicBezTo>
                    <a:pt x="1532" y="655"/>
                    <a:pt x="1535" y="657"/>
                    <a:pt x="1536" y="659"/>
                  </a:cubicBezTo>
                  <a:cubicBezTo>
                    <a:pt x="1539" y="659"/>
                    <a:pt x="1541" y="658"/>
                    <a:pt x="1544" y="659"/>
                  </a:cubicBezTo>
                  <a:cubicBezTo>
                    <a:pt x="1545" y="662"/>
                    <a:pt x="1546" y="664"/>
                    <a:pt x="1547" y="667"/>
                  </a:cubicBezTo>
                  <a:cubicBezTo>
                    <a:pt x="1555" y="671"/>
                    <a:pt x="1559" y="664"/>
                    <a:pt x="1562" y="659"/>
                  </a:cubicBezTo>
                  <a:cubicBezTo>
                    <a:pt x="1566" y="671"/>
                    <a:pt x="1552" y="672"/>
                    <a:pt x="1553" y="682"/>
                  </a:cubicBezTo>
                  <a:cubicBezTo>
                    <a:pt x="1553" y="687"/>
                    <a:pt x="1566" y="695"/>
                    <a:pt x="1571" y="697"/>
                  </a:cubicBezTo>
                  <a:cubicBezTo>
                    <a:pt x="1592" y="705"/>
                    <a:pt x="1580" y="671"/>
                    <a:pt x="1586" y="661"/>
                  </a:cubicBezTo>
                  <a:cubicBezTo>
                    <a:pt x="1587" y="667"/>
                    <a:pt x="1585" y="672"/>
                    <a:pt x="1585" y="677"/>
                  </a:cubicBezTo>
                  <a:cubicBezTo>
                    <a:pt x="1587" y="680"/>
                    <a:pt x="1590" y="681"/>
                    <a:pt x="1592" y="683"/>
                  </a:cubicBezTo>
                  <a:cubicBezTo>
                    <a:pt x="1595" y="712"/>
                    <a:pt x="1602" y="735"/>
                    <a:pt x="1614" y="755"/>
                  </a:cubicBezTo>
                  <a:cubicBezTo>
                    <a:pt x="1614" y="758"/>
                    <a:pt x="1614" y="760"/>
                    <a:pt x="1615" y="762"/>
                  </a:cubicBezTo>
                  <a:cubicBezTo>
                    <a:pt x="1616" y="764"/>
                    <a:pt x="1619" y="763"/>
                    <a:pt x="1621" y="765"/>
                  </a:cubicBezTo>
                  <a:cubicBezTo>
                    <a:pt x="1621" y="772"/>
                    <a:pt x="1625" y="776"/>
                    <a:pt x="1629" y="779"/>
                  </a:cubicBezTo>
                  <a:cubicBezTo>
                    <a:pt x="1628" y="802"/>
                    <a:pt x="1645" y="814"/>
                    <a:pt x="1647" y="830"/>
                  </a:cubicBezTo>
                  <a:cubicBezTo>
                    <a:pt x="1648" y="844"/>
                    <a:pt x="1651" y="853"/>
                    <a:pt x="1658" y="862"/>
                  </a:cubicBezTo>
                  <a:cubicBezTo>
                    <a:pt x="1663" y="856"/>
                    <a:pt x="1660" y="849"/>
                    <a:pt x="1661" y="842"/>
                  </a:cubicBezTo>
                  <a:cubicBezTo>
                    <a:pt x="1662" y="838"/>
                    <a:pt x="1665" y="835"/>
                    <a:pt x="1666" y="831"/>
                  </a:cubicBezTo>
                  <a:cubicBezTo>
                    <a:pt x="1666" y="830"/>
                    <a:pt x="1665" y="827"/>
                    <a:pt x="1665" y="825"/>
                  </a:cubicBezTo>
                  <a:cubicBezTo>
                    <a:pt x="1665" y="820"/>
                    <a:pt x="1669" y="814"/>
                    <a:pt x="1669" y="810"/>
                  </a:cubicBezTo>
                  <a:cubicBezTo>
                    <a:pt x="1669" y="804"/>
                    <a:pt x="1665" y="794"/>
                    <a:pt x="1664" y="783"/>
                  </a:cubicBezTo>
                  <a:close/>
                  <a:moveTo>
                    <a:pt x="911" y="465"/>
                  </a:moveTo>
                  <a:cubicBezTo>
                    <a:pt x="918" y="465"/>
                    <a:pt x="918" y="465"/>
                    <a:pt x="918" y="465"/>
                  </a:cubicBezTo>
                  <a:cubicBezTo>
                    <a:pt x="918" y="468"/>
                    <a:pt x="910" y="471"/>
                    <a:pt x="911" y="465"/>
                  </a:cubicBezTo>
                  <a:close/>
                  <a:moveTo>
                    <a:pt x="923" y="465"/>
                  </a:moveTo>
                  <a:cubicBezTo>
                    <a:pt x="924" y="455"/>
                    <a:pt x="940" y="454"/>
                    <a:pt x="947" y="459"/>
                  </a:cubicBezTo>
                  <a:cubicBezTo>
                    <a:pt x="947" y="468"/>
                    <a:pt x="931" y="466"/>
                    <a:pt x="923" y="465"/>
                  </a:cubicBezTo>
                  <a:close/>
                  <a:moveTo>
                    <a:pt x="1059" y="449"/>
                  </a:moveTo>
                  <a:cubicBezTo>
                    <a:pt x="1056" y="449"/>
                    <a:pt x="1055" y="446"/>
                    <a:pt x="1052" y="444"/>
                  </a:cubicBezTo>
                  <a:cubicBezTo>
                    <a:pt x="1049" y="444"/>
                    <a:pt x="1048" y="446"/>
                    <a:pt x="1045" y="445"/>
                  </a:cubicBezTo>
                  <a:cubicBezTo>
                    <a:pt x="1041" y="445"/>
                    <a:pt x="1041" y="441"/>
                    <a:pt x="1038" y="440"/>
                  </a:cubicBezTo>
                  <a:cubicBezTo>
                    <a:pt x="1035" y="439"/>
                    <a:pt x="1033" y="441"/>
                    <a:pt x="1030" y="442"/>
                  </a:cubicBezTo>
                  <a:cubicBezTo>
                    <a:pt x="1026" y="440"/>
                    <a:pt x="1024" y="437"/>
                    <a:pt x="1021" y="435"/>
                  </a:cubicBezTo>
                  <a:cubicBezTo>
                    <a:pt x="1015" y="442"/>
                    <a:pt x="1008" y="436"/>
                    <a:pt x="1001" y="437"/>
                  </a:cubicBezTo>
                  <a:cubicBezTo>
                    <a:pt x="990" y="438"/>
                    <a:pt x="981" y="446"/>
                    <a:pt x="976" y="453"/>
                  </a:cubicBezTo>
                  <a:cubicBezTo>
                    <a:pt x="959" y="454"/>
                    <a:pt x="951" y="450"/>
                    <a:pt x="934" y="450"/>
                  </a:cubicBezTo>
                  <a:cubicBezTo>
                    <a:pt x="931" y="445"/>
                    <a:pt x="929" y="437"/>
                    <a:pt x="924" y="433"/>
                  </a:cubicBezTo>
                  <a:cubicBezTo>
                    <a:pt x="925" y="429"/>
                    <a:pt x="927" y="425"/>
                    <a:pt x="925" y="420"/>
                  </a:cubicBezTo>
                  <a:cubicBezTo>
                    <a:pt x="927" y="419"/>
                    <a:pt x="929" y="418"/>
                    <a:pt x="932" y="419"/>
                  </a:cubicBezTo>
                  <a:cubicBezTo>
                    <a:pt x="930" y="406"/>
                    <a:pt x="932" y="395"/>
                    <a:pt x="944" y="395"/>
                  </a:cubicBezTo>
                  <a:cubicBezTo>
                    <a:pt x="945" y="389"/>
                    <a:pt x="942" y="388"/>
                    <a:pt x="942" y="383"/>
                  </a:cubicBezTo>
                  <a:cubicBezTo>
                    <a:pt x="950" y="377"/>
                    <a:pt x="951" y="363"/>
                    <a:pt x="968" y="365"/>
                  </a:cubicBezTo>
                  <a:cubicBezTo>
                    <a:pt x="971" y="368"/>
                    <a:pt x="966" y="366"/>
                    <a:pt x="966" y="370"/>
                  </a:cubicBezTo>
                  <a:cubicBezTo>
                    <a:pt x="971" y="376"/>
                    <a:pt x="981" y="370"/>
                    <a:pt x="987" y="374"/>
                  </a:cubicBezTo>
                  <a:cubicBezTo>
                    <a:pt x="985" y="379"/>
                    <a:pt x="979" y="379"/>
                    <a:pt x="978" y="384"/>
                  </a:cubicBezTo>
                  <a:cubicBezTo>
                    <a:pt x="982" y="386"/>
                    <a:pt x="988" y="386"/>
                    <a:pt x="991" y="389"/>
                  </a:cubicBezTo>
                  <a:cubicBezTo>
                    <a:pt x="991" y="392"/>
                    <a:pt x="990" y="396"/>
                    <a:pt x="992" y="397"/>
                  </a:cubicBezTo>
                  <a:cubicBezTo>
                    <a:pt x="993" y="399"/>
                    <a:pt x="996" y="398"/>
                    <a:pt x="998" y="399"/>
                  </a:cubicBezTo>
                  <a:cubicBezTo>
                    <a:pt x="1001" y="393"/>
                    <a:pt x="1013" y="396"/>
                    <a:pt x="1014" y="387"/>
                  </a:cubicBezTo>
                  <a:cubicBezTo>
                    <a:pt x="1016" y="388"/>
                    <a:pt x="1019" y="389"/>
                    <a:pt x="1023" y="389"/>
                  </a:cubicBezTo>
                  <a:cubicBezTo>
                    <a:pt x="1025" y="388"/>
                    <a:pt x="1025" y="384"/>
                    <a:pt x="1027" y="382"/>
                  </a:cubicBezTo>
                  <a:cubicBezTo>
                    <a:pt x="1017" y="381"/>
                    <a:pt x="1005" y="384"/>
                    <a:pt x="999" y="373"/>
                  </a:cubicBezTo>
                  <a:cubicBezTo>
                    <a:pt x="1005" y="364"/>
                    <a:pt x="1021" y="365"/>
                    <a:pt x="1027" y="356"/>
                  </a:cubicBezTo>
                  <a:cubicBezTo>
                    <a:pt x="1035" y="358"/>
                    <a:pt x="1039" y="350"/>
                    <a:pt x="1047" y="353"/>
                  </a:cubicBezTo>
                  <a:cubicBezTo>
                    <a:pt x="1045" y="358"/>
                    <a:pt x="1040" y="360"/>
                    <a:pt x="1035" y="362"/>
                  </a:cubicBezTo>
                  <a:cubicBezTo>
                    <a:pt x="1036" y="366"/>
                    <a:pt x="1039" y="366"/>
                    <a:pt x="1042" y="368"/>
                  </a:cubicBezTo>
                  <a:cubicBezTo>
                    <a:pt x="1038" y="370"/>
                    <a:pt x="1040" y="378"/>
                    <a:pt x="1037" y="382"/>
                  </a:cubicBezTo>
                  <a:cubicBezTo>
                    <a:pt x="1033" y="383"/>
                    <a:pt x="1033" y="379"/>
                    <a:pt x="1029" y="380"/>
                  </a:cubicBezTo>
                  <a:cubicBezTo>
                    <a:pt x="1029" y="388"/>
                    <a:pt x="1037" y="388"/>
                    <a:pt x="1040" y="393"/>
                  </a:cubicBezTo>
                  <a:cubicBezTo>
                    <a:pt x="1049" y="391"/>
                    <a:pt x="1049" y="398"/>
                    <a:pt x="1058" y="396"/>
                  </a:cubicBezTo>
                  <a:cubicBezTo>
                    <a:pt x="1067" y="408"/>
                    <a:pt x="1087" y="411"/>
                    <a:pt x="1099" y="418"/>
                  </a:cubicBezTo>
                  <a:cubicBezTo>
                    <a:pt x="1105" y="421"/>
                    <a:pt x="1106" y="431"/>
                    <a:pt x="1112" y="436"/>
                  </a:cubicBezTo>
                  <a:cubicBezTo>
                    <a:pt x="1106" y="454"/>
                    <a:pt x="1075" y="450"/>
                    <a:pt x="1059" y="449"/>
                  </a:cubicBezTo>
                  <a:close/>
                  <a:moveTo>
                    <a:pt x="1104" y="91"/>
                  </a:moveTo>
                  <a:cubicBezTo>
                    <a:pt x="1108" y="89"/>
                    <a:pt x="1112" y="93"/>
                    <a:pt x="1115" y="94"/>
                  </a:cubicBezTo>
                  <a:cubicBezTo>
                    <a:pt x="1112" y="96"/>
                    <a:pt x="1108" y="92"/>
                    <a:pt x="1104" y="91"/>
                  </a:cubicBezTo>
                  <a:close/>
                  <a:moveTo>
                    <a:pt x="215" y="250"/>
                  </a:moveTo>
                  <a:cubicBezTo>
                    <a:pt x="215" y="251"/>
                    <a:pt x="214" y="252"/>
                    <a:pt x="215" y="252"/>
                  </a:cubicBezTo>
                  <a:cubicBezTo>
                    <a:pt x="217" y="250"/>
                    <a:pt x="221" y="244"/>
                    <a:pt x="217" y="245"/>
                  </a:cubicBezTo>
                  <a:cubicBezTo>
                    <a:pt x="222" y="239"/>
                    <a:pt x="233" y="233"/>
                    <a:pt x="233" y="227"/>
                  </a:cubicBezTo>
                  <a:cubicBezTo>
                    <a:pt x="238" y="227"/>
                    <a:pt x="246" y="222"/>
                    <a:pt x="248" y="214"/>
                  </a:cubicBezTo>
                  <a:cubicBezTo>
                    <a:pt x="246" y="214"/>
                    <a:pt x="243" y="217"/>
                    <a:pt x="242" y="215"/>
                  </a:cubicBezTo>
                  <a:cubicBezTo>
                    <a:pt x="248" y="212"/>
                    <a:pt x="251" y="208"/>
                    <a:pt x="258" y="206"/>
                  </a:cubicBezTo>
                  <a:cubicBezTo>
                    <a:pt x="260" y="209"/>
                    <a:pt x="257" y="213"/>
                    <a:pt x="257" y="216"/>
                  </a:cubicBezTo>
                  <a:cubicBezTo>
                    <a:pt x="262" y="217"/>
                    <a:pt x="268" y="210"/>
                    <a:pt x="274" y="208"/>
                  </a:cubicBezTo>
                  <a:cubicBezTo>
                    <a:pt x="277" y="207"/>
                    <a:pt x="283" y="209"/>
                    <a:pt x="287" y="206"/>
                  </a:cubicBezTo>
                  <a:cubicBezTo>
                    <a:pt x="288" y="206"/>
                    <a:pt x="290" y="202"/>
                    <a:pt x="292" y="201"/>
                  </a:cubicBezTo>
                  <a:cubicBezTo>
                    <a:pt x="297" y="196"/>
                    <a:pt x="310" y="191"/>
                    <a:pt x="305" y="187"/>
                  </a:cubicBezTo>
                  <a:cubicBezTo>
                    <a:pt x="309" y="187"/>
                    <a:pt x="308" y="182"/>
                    <a:pt x="311" y="180"/>
                  </a:cubicBezTo>
                  <a:cubicBezTo>
                    <a:pt x="313" y="181"/>
                    <a:pt x="313" y="182"/>
                    <a:pt x="314" y="181"/>
                  </a:cubicBezTo>
                  <a:cubicBezTo>
                    <a:pt x="323" y="157"/>
                    <a:pt x="359" y="143"/>
                    <a:pt x="376" y="124"/>
                  </a:cubicBezTo>
                  <a:cubicBezTo>
                    <a:pt x="369" y="128"/>
                    <a:pt x="360" y="131"/>
                    <a:pt x="353" y="134"/>
                  </a:cubicBezTo>
                  <a:cubicBezTo>
                    <a:pt x="361" y="124"/>
                    <a:pt x="378" y="117"/>
                    <a:pt x="387" y="108"/>
                  </a:cubicBezTo>
                  <a:cubicBezTo>
                    <a:pt x="396" y="101"/>
                    <a:pt x="401" y="100"/>
                    <a:pt x="400" y="94"/>
                  </a:cubicBezTo>
                  <a:cubicBezTo>
                    <a:pt x="322" y="137"/>
                    <a:pt x="252" y="193"/>
                    <a:pt x="200" y="258"/>
                  </a:cubicBezTo>
                  <a:cubicBezTo>
                    <a:pt x="202" y="257"/>
                    <a:pt x="206" y="253"/>
                    <a:pt x="208" y="254"/>
                  </a:cubicBezTo>
                  <a:cubicBezTo>
                    <a:pt x="203" y="260"/>
                    <a:pt x="192" y="264"/>
                    <a:pt x="192" y="271"/>
                  </a:cubicBezTo>
                  <a:cubicBezTo>
                    <a:pt x="194" y="265"/>
                    <a:pt x="199" y="268"/>
                    <a:pt x="203" y="266"/>
                  </a:cubicBezTo>
                  <a:cubicBezTo>
                    <a:pt x="210" y="262"/>
                    <a:pt x="210" y="255"/>
                    <a:pt x="215" y="250"/>
                  </a:cubicBezTo>
                  <a:close/>
                  <a:moveTo>
                    <a:pt x="63" y="1119"/>
                  </a:moveTo>
                  <a:cubicBezTo>
                    <a:pt x="63" y="1103"/>
                    <a:pt x="54" y="1079"/>
                    <a:pt x="50" y="1063"/>
                  </a:cubicBezTo>
                  <a:cubicBezTo>
                    <a:pt x="48" y="1055"/>
                    <a:pt x="40" y="1047"/>
                    <a:pt x="37" y="1040"/>
                  </a:cubicBezTo>
                  <a:cubicBezTo>
                    <a:pt x="33" y="1032"/>
                    <a:pt x="30" y="1023"/>
                    <a:pt x="27" y="1015"/>
                  </a:cubicBezTo>
                  <a:cubicBezTo>
                    <a:pt x="21" y="998"/>
                    <a:pt x="12" y="982"/>
                    <a:pt x="8" y="967"/>
                  </a:cubicBezTo>
                  <a:cubicBezTo>
                    <a:pt x="7" y="962"/>
                    <a:pt x="6" y="954"/>
                    <a:pt x="5" y="947"/>
                  </a:cubicBezTo>
                  <a:cubicBezTo>
                    <a:pt x="4" y="944"/>
                    <a:pt x="0" y="929"/>
                    <a:pt x="1" y="934"/>
                  </a:cubicBezTo>
                  <a:cubicBezTo>
                    <a:pt x="15" y="1040"/>
                    <a:pt x="48" y="1132"/>
                    <a:pt x="89" y="1208"/>
                  </a:cubicBezTo>
                  <a:cubicBezTo>
                    <a:pt x="80" y="1183"/>
                    <a:pt x="62" y="1159"/>
                    <a:pt x="61" y="1131"/>
                  </a:cubicBezTo>
                  <a:cubicBezTo>
                    <a:pt x="61" y="1127"/>
                    <a:pt x="63" y="1123"/>
                    <a:pt x="63" y="1119"/>
                  </a:cubicBezTo>
                  <a:close/>
                  <a:moveTo>
                    <a:pt x="585" y="5"/>
                  </a:moveTo>
                  <a:cubicBezTo>
                    <a:pt x="584" y="5"/>
                    <a:pt x="583" y="5"/>
                    <a:pt x="583" y="4"/>
                  </a:cubicBezTo>
                  <a:cubicBezTo>
                    <a:pt x="584" y="4"/>
                    <a:pt x="585" y="4"/>
                    <a:pt x="585" y="3"/>
                  </a:cubicBezTo>
                  <a:cubicBezTo>
                    <a:pt x="581" y="3"/>
                    <a:pt x="578" y="3"/>
                    <a:pt x="577" y="6"/>
                  </a:cubicBezTo>
                  <a:cubicBezTo>
                    <a:pt x="580" y="7"/>
                    <a:pt x="584" y="7"/>
                    <a:pt x="585" y="5"/>
                  </a:cubicBezTo>
                  <a:close/>
                </a:path>
              </a:pathLst>
            </a:custGeom>
            <a:gradFill rotWithShape="1">
              <a:gsLst>
                <a:gs pos="0">
                  <a:srgbClr val="69A2E1"/>
                </a:gs>
                <a:gs pos="100000">
                  <a:srgbClr val="0061B2"/>
                </a:gs>
              </a:gsLst>
              <a:lin ang="5400000" scaled="1"/>
            </a:gradFill>
            <a:ln w="9525">
              <a:solidFill>
                <a:srgbClr val="FFFFFF"/>
              </a:solidFill>
              <a:round/>
              <a:headEnd/>
              <a:tailEnd/>
            </a:ln>
          </p:spPr>
          <p:txBody>
            <a:bodyPr/>
            <a:lstStyle/>
            <a:p>
              <a:endParaRPr lang="es-PE">
                <a:solidFill>
                  <a:prstClr val="black"/>
                </a:solidFill>
                <a:latin typeface="Arial" pitchFamily="34" charset="0"/>
                <a:cs typeface="Arial" pitchFamily="34" charset="0"/>
              </a:endParaRPr>
            </a:p>
          </p:txBody>
        </p:sp>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0-#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0-#ppt_w/2"/>
                                          </p:val>
                                        </p:tav>
                                        <p:tav tm="100000">
                                          <p:val>
                                            <p:strVal val="#ppt_x"/>
                                          </p:val>
                                        </p:tav>
                                      </p:tavLst>
                                    </p:anim>
                                    <p:anim calcmode="lin" valueType="num">
                                      <p:cBhvr additive="base">
                                        <p:cTn id="28" dur="500" fill="hold"/>
                                        <p:tgtEl>
                                          <p:spTgt spid="4"/>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500" fill="hold"/>
                                        <p:tgtEl>
                                          <p:spTgt spid="5"/>
                                        </p:tgtEl>
                                        <p:attrNameLst>
                                          <p:attrName>ppt_x</p:attrName>
                                        </p:attrNameLst>
                                      </p:cBhvr>
                                      <p:tavLst>
                                        <p:tav tm="0">
                                          <p:val>
                                            <p:strVal val="0-#ppt_w/2"/>
                                          </p:val>
                                        </p:tav>
                                        <p:tav tm="100000">
                                          <p:val>
                                            <p:strVal val="#ppt_x"/>
                                          </p:val>
                                        </p:tav>
                                      </p:tavLst>
                                    </p:anim>
                                    <p:anim calcmode="lin" valueType="num">
                                      <p:cBhvr additive="base">
                                        <p:cTn id="3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animBg="1"/>
      <p:bldP spid="8" grpId="0" animBg="1"/>
      <p:bldP spid="9" grpId="0" animBg="1"/>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1619672" y="724634"/>
            <a:ext cx="3528392" cy="707886"/>
          </a:xfrm>
          <a:prstGeom prst="rect">
            <a:avLst/>
          </a:prstGeom>
          <a:noFill/>
        </p:spPr>
        <p:txBody>
          <a:bodyPr wrap="square" rtlCol="0">
            <a:spAutoFit/>
          </a:bodyPr>
          <a:lstStyle/>
          <a:p>
            <a:r>
              <a:rPr lang="es-ES" sz="2000" b="1" dirty="0" smtClean="0"/>
              <a:t>Inversiones en </a:t>
            </a:r>
            <a:r>
              <a:rPr lang="es-ES" sz="2000" b="1" u="sng" dirty="0"/>
              <a:t>infraestructura</a:t>
            </a:r>
          </a:p>
        </p:txBody>
      </p:sp>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75525" y="1070610"/>
            <a:ext cx="2106234" cy="3726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9 CuadroTexto"/>
          <p:cNvSpPr txBox="1"/>
          <p:nvPr/>
        </p:nvSpPr>
        <p:spPr>
          <a:xfrm>
            <a:off x="1385646" y="5445224"/>
            <a:ext cx="1674186" cy="8172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Mayor provisión de infraestructura física</a:t>
            </a:r>
          </a:p>
        </p:txBody>
      </p:sp>
      <p:sp>
        <p:nvSpPr>
          <p:cNvPr id="11" name="10 CuadroTexto"/>
          <p:cNvSpPr txBox="1"/>
          <p:nvPr/>
        </p:nvSpPr>
        <p:spPr>
          <a:xfrm>
            <a:off x="3491880" y="5445224"/>
            <a:ext cx="1674186" cy="8172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Menor costo en comercio a través de fronteras</a:t>
            </a:r>
          </a:p>
        </p:txBody>
      </p:sp>
      <p:sp>
        <p:nvSpPr>
          <p:cNvPr id="12" name="11 CuadroTexto"/>
          <p:cNvSpPr txBox="1"/>
          <p:nvPr/>
        </p:nvSpPr>
        <p:spPr>
          <a:xfrm>
            <a:off x="5652120" y="5274966"/>
            <a:ext cx="2153045" cy="1464231"/>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600" b="1" dirty="0"/>
              <a:t>Aumento del comercio regional (principalmente en África y América del Sur)</a:t>
            </a:r>
          </a:p>
        </p:txBody>
      </p:sp>
      <p:pic>
        <p:nvPicPr>
          <p:cNvPr id="614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74864" y="1628800"/>
            <a:ext cx="4169245" cy="3096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4 Elipse"/>
          <p:cNvSpPr/>
          <p:nvPr/>
        </p:nvSpPr>
        <p:spPr>
          <a:xfrm>
            <a:off x="3513323" y="3411850"/>
            <a:ext cx="324036" cy="36004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5 Flecha abajo"/>
          <p:cNvSpPr/>
          <p:nvPr/>
        </p:nvSpPr>
        <p:spPr>
          <a:xfrm>
            <a:off x="3644503" y="3005527"/>
            <a:ext cx="86570" cy="3428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1 Título"/>
          <p:cNvSpPr>
            <a:spLocks noGrp="1"/>
          </p:cNvSpPr>
          <p:nvPr>
            <p:ph type="title"/>
          </p:nvPr>
        </p:nvSpPr>
        <p:spPr>
          <a:xfrm>
            <a:off x="457200" y="152718"/>
            <a:ext cx="8075240" cy="683994"/>
          </a:xfrm>
          <a:ln>
            <a:noFill/>
          </a:ln>
        </p:spPr>
        <p:txBody>
          <a:bodyPr>
            <a:normAutofit/>
          </a:bodyPr>
          <a:lstStyle/>
          <a:p>
            <a:r>
              <a:rPr lang="es-ES" sz="2800" dirty="0" smtClean="0"/>
              <a:t>i.	</a:t>
            </a:r>
            <a:r>
              <a:rPr lang="es-ES" sz="2700" dirty="0" smtClean="0">
                <a:solidFill>
                  <a:schemeClr val="tx1"/>
                </a:solidFill>
              </a:rPr>
              <a:t>CONDICIONES DEL ENTORNO</a:t>
            </a:r>
            <a:endParaRPr lang="es-ES" sz="2700" dirty="0">
              <a:solidFill>
                <a:schemeClr val="tx1"/>
              </a:solidFill>
            </a:endParaRPr>
          </a:p>
        </p:txBody>
      </p:sp>
      <p:cxnSp>
        <p:nvCxnSpPr>
          <p:cNvPr id="17" name="16 Conector recto de flecha"/>
          <p:cNvCxnSpPr>
            <a:stCxn id="10" idx="3"/>
            <a:endCxn id="11" idx="1"/>
          </p:cNvCxnSpPr>
          <p:nvPr/>
        </p:nvCxnSpPr>
        <p:spPr>
          <a:xfrm>
            <a:off x="3059832" y="5853847"/>
            <a:ext cx="43204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 name="24 Conector recto de flecha"/>
          <p:cNvCxnSpPr/>
          <p:nvPr/>
        </p:nvCxnSpPr>
        <p:spPr>
          <a:xfrm>
            <a:off x="4788024" y="5877272"/>
            <a:ext cx="990110" cy="23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198570"/>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1385646" y="724634"/>
            <a:ext cx="2430270" cy="707886"/>
          </a:xfrm>
          <a:prstGeom prst="rect">
            <a:avLst/>
          </a:prstGeom>
          <a:noFill/>
        </p:spPr>
        <p:txBody>
          <a:bodyPr wrap="square" rtlCol="0">
            <a:spAutoFit/>
          </a:bodyPr>
          <a:lstStyle/>
          <a:p>
            <a:r>
              <a:rPr lang="es-ES" sz="2000" b="1" dirty="0" smtClean="0"/>
              <a:t>Progreso </a:t>
            </a:r>
            <a:r>
              <a:rPr lang="es-ES" sz="2000" b="1" dirty="0"/>
              <a:t>tecnológico</a:t>
            </a: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80439" y="4136120"/>
            <a:ext cx="3198246" cy="2677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28502" y="1080033"/>
            <a:ext cx="3399978" cy="284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5 CuadroTexto"/>
          <p:cNvSpPr txBox="1"/>
          <p:nvPr/>
        </p:nvSpPr>
        <p:spPr>
          <a:xfrm>
            <a:off x="1979712" y="1556792"/>
            <a:ext cx="1674186" cy="10556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Mayor inversión en I+D en economías emergentes</a:t>
            </a:r>
          </a:p>
        </p:txBody>
      </p:sp>
      <p:sp>
        <p:nvSpPr>
          <p:cNvPr id="7" name="6 CuadroTexto"/>
          <p:cNvSpPr txBox="1"/>
          <p:nvPr/>
        </p:nvSpPr>
        <p:spPr>
          <a:xfrm>
            <a:off x="3167844" y="3364061"/>
            <a:ext cx="903939" cy="8172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Alto impacto en </a:t>
            </a:r>
            <a:r>
              <a:rPr lang="es-ES" sz="1400" dirty="0" err="1"/>
              <a:t>TICs</a:t>
            </a:r>
            <a:endParaRPr lang="es-ES" sz="1400" dirty="0"/>
          </a:p>
        </p:txBody>
      </p:sp>
      <p:sp>
        <p:nvSpPr>
          <p:cNvPr id="8" name="7 CuadroTexto"/>
          <p:cNvSpPr txBox="1"/>
          <p:nvPr/>
        </p:nvSpPr>
        <p:spPr>
          <a:xfrm>
            <a:off x="1223628" y="3364061"/>
            <a:ext cx="1674186" cy="10556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Convergencia tecnológica con énfasis a nivel regional</a:t>
            </a:r>
          </a:p>
        </p:txBody>
      </p:sp>
      <p:sp>
        <p:nvSpPr>
          <p:cNvPr id="9" name="8 CuadroTexto"/>
          <p:cNvSpPr txBox="1"/>
          <p:nvPr/>
        </p:nvSpPr>
        <p:spPr>
          <a:xfrm>
            <a:off x="1043608" y="5151256"/>
            <a:ext cx="1368153" cy="1451431"/>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600" b="1" dirty="0" err="1" smtClean="0"/>
              <a:t>Crecim</a:t>
            </a:r>
            <a:r>
              <a:rPr lang="es-ES" sz="1600" b="1" dirty="0" smtClean="0"/>
              <a:t>. De comercio </a:t>
            </a:r>
            <a:r>
              <a:rPr lang="es-ES" sz="1600" b="1" dirty="0" err="1" smtClean="0"/>
              <a:t>intra</a:t>
            </a:r>
            <a:endParaRPr lang="es-ES" sz="1600" b="1" dirty="0" smtClean="0"/>
          </a:p>
          <a:p>
            <a:pPr algn="ctr"/>
            <a:r>
              <a:rPr lang="es-ES" sz="1600" b="1" dirty="0" smtClean="0"/>
              <a:t>industrial</a:t>
            </a:r>
            <a:endParaRPr lang="es-ES" sz="1600" b="1" dirty="0"/>
          </a:p>
        </p:txBody>
      </p:sp>
      <p:sp>
        <p:nvSpPr>
          <p:cNvPr id="11" name="10 CuadroTexto"/>
          <p:cNvSpPr txBox="1"/>
          <p:nvPr/>
        </p:nvSpPr>
        <p:spPr>
          <a:xfrm>
            <a:off x="2708793" y="5151256"/>
            <a:ext cx="1539455" cy="1464231"/>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600" b="1" dirty="0"/>
              <a:t>Mayor </a:t>
            </a:r>
            <a:r>
              <a:rPr lang="es-ES" sz="1600" b="1" dirty="0" smtClean="0"/>
              <a:t>particip.de servicios </a:t>
            </a:r>
            <a:r>
              <a:rPr lang="es-ES" sz="1600" b="1" dirty="0"/>
              <a:t>en </a:t>
            </a:r>
            <a:r>
              <a:rPr lang="es-ES" sz="1600" b="1" dirty="0" smtClean="0"/>
              <a:t>comercio </a:t>
            </a:r>
            <a:r>
              <a:rPr lang="es-ES" sz="1600" b="1" dirty="0"/>
              <a:t>global</a:t>
            </a:r>
          </a:p>
        </p:txBody>
      </p:sp>
      <p:sp>
        <p:nvSpPr>
          <p:cNvPr id="4" name="3 CuadroTexto"/>
          <p:cNvSpPr txBox="1"/>
          <p:nvPr/>
        </p:nvSpPr>
        <p:spPr>
          <a:xfrm>
            <a:off x="7082898" y="1669063"/>
            <a:ext cx="918102" cy="1200329"/>
          </a:xfrm>
          <a:prstGeom prst="rect">
            <a:avLst/>
          </a:prstGeom>
          <a:noFill/>
        </p:spPr>
        <p:txBody>
          <a:bodyPr wrap="square" rtlCol="0">
            <a:spAutoFit/>
          </a:bodyPr>
          <a:lstStyle/>
          <a:p>
            <a:r>
              <a:rPr lang="es-ES" sz="1200" dirty="0"/>
              <a:t>Perú en 2012: US$ 891 millones (0.2% de PBI)</a:t>
            </a:r>
          </a:p>
        </p:txBody>
      </p:sp>
      <p:sp>
        <p:nvSpPr>
          <p:cNvPr id="17" name="1 Título"/>
          <p:cNvSpPr>
            <a:spLocks noGrp="1"/>
          </p:cNvSpPr>
          <p:nvPr>
            <p:ph type="title"/>
          </p:nvPr>
        </p:nvSpPr>
        <p:spPr>
          <a:xfrm>
            <a:off x="457200" y="152718"/>
            <a:ext cx="8075240" cy="683994"/>
          </a:xfrm>
          <a:ln>
            <a:noFill/>
          </a:ln>
        </p:spPr>
        <p:txBody>
          <a:bodyPr>
            <a:normAutofit/>
          </a:bodyPr>
          <a:lstStyle/>
          <a:p>
            <a:r>
              <a:rPr lang="es-ES" sz="2800" dirty="0" smtClean="0"/>
              <a:t>i.	</a:t>
            </a:r>
            <a:r>
              <a:rPr lang="es-ES" sz="2700" dirty="0" smtClean="0">
                <a:solidFill>
                  <a:schemeClr val="tx1"/>
                </a:solidFill>
              </a:rPr>
              <a:t>CONDICIONES DEL ENTORNO</a:t>
            </a:r>
            <a:endParaRPr lang="es-ES" sz="2700" dirty="0">
              <a:solidFill>
                <a:schemeClr val="tx1"/>
              </a:solidFill>
            </a:endParaRPr>
          </a:p>
        </p:txBody>
      </p:sp>
      <p:cxnSp>
        <p:nvCxnSpPr>
          <p:cNvPr id="19" name="18 Conector recto de flecha"/>
          <p:cNvCxnSpPr/>
          <p:nvPr/>
        </p:nvCxnSpPr>
        <p:spPr>
          <a:xfrm>
            <a:off x="2267744" y="2636912"/>
            <a:ext cx="0" cy="86409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21 Conector recto de flecha"/>
          <p:cNvCxnSpPr/>
          <p:nvPr/>
        </p:nvCxnSpPr>
        <p:spPr>
          <a:xfrm>
            <a:off x="3419872" y="2636912"/>
            <a:ext cx="0" cy="86409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25 Conector recto de flecha"/>
          <p:cNvCxnSpPr/>
          <p:nvPr/>
        </p:nvCxnSpPr>
        <p:spPr>
          <a:xfrm flipH="1">
            <a:off x="1979712" y="4419669"/>
            <a:ext cx="9002" cy="73752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29 Conector recto de flecha"/>
          <p:cNvCxnSpPr/>
          <p:nvPr/>
        </p:nvCxnSpPr>
        <p:spPr>
          <a:xfrm>
            <a:off x="3491880" y="4149080"/>
            <a:ext cx="0" cy="9699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0981765"/>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1385646" y="848906"/>
            <a:ext cx="3546394" cy="707886"/>
          </a:xfrm>
          <a:prstGeom prst="rect">
            <a:avLst/>
          </a:prstGeom>
          <a:noFill/>
        </p:spPr>
        <p:txBody>
          <a:bodyPr wrap="square" rtlCol="0">
            <a:spAutoFit/>
          </a:bodyPr>
          <a:lstStyle/>
          <a:p>
            <a:r>
              <a:rPr lang="es-ES" sz="2000" b="1" dirty="0" smtClean="0"/>
              <a:t>Restricciones </a:t>
            </a:r>
            <a:r>
              <a:rPr lang="es-ES" sz="2000" b="1" dirty="0"/>
              <a:t>de recursos </a:t>
            </a:r>
            <a:r>
              <a:rPr lang="es-ES" sz="2000" b="1" u="sng" dirty="0"/>
              <a:t>naturales</a:t>
            </a:r>
          </a:p>
        </p:txBody>
      </p:sp>
      <p:grpSp>
        <p:nvGrpSpPr>
          <p:cNvPr id="8" name="11 Grupo"/>
          <p:cNvGrpSpPr/>
          <p:nvPr/>
        </p:nvGrpSpPr>
        <p:grpSpPr>
          <a:xfrm>
            <a:off x="4572000" y="1196754"/>
            <a:ext cx="3024336" cy="2511023"/>
            <a:chOff x="4125802" y="1371453"/>
            <a:chExt cx="3816424" cy="2414203"/>
          </a:xfrm>
        </p:grpSpPr>
        <p:graphicFrame>
          <p:nvGraphicFramePr>
            <p:cNvPr id="6" name="1 Gráfico"/>
            <p:cNvGraphicFramePr>
              <a:graphicFrameLocks/>
            </p:cNvGraphicFramePr>
            <p:nvPr>
              <p:extLst/>
            </p:nvPr>
          </p:nvGraphicFramePr>
          <p:xfrm>
            <a:off x="4125802" y="1371453"/>
            <a:ext cx="3816424" cy="2192271"/>
          </p:xfrm>
          <a:graphic>
            <a:graphicData uri="http://schemas.openxmlformats.org/drawingml/2006/chart">
              <c:chart xmlns:c="http://schemas.openxmlformats.org/drawingml/2006/chart" xmlns:r="http://schemas.openxmlformats.org/officeDocument/2006/relationships" r:id="rId3"/>
            </a:graphicData>
          </a:graphic>
        </p:graphicFrame>
        <p:sp>
          <p:nvSpPr>
            <p:cNvPr id="3" name="2 CuadroTexto"/>
            <p:cNvSpPr txBox="1"/>
            <p:nvPr/>
          </p:nvSpPr>
          <p:spPr>
            <a:xfrm>
              <a:off x="4128134" y="3563724"/>
              <a:ext cx="3599032" cy="221932"/>
            </a:xfrm>
            <a:prstGeom prst="rect">
              <a:avLst/>
            </a:prstGeom>
            <a:noFill/>
          </p:spPr>
          <p:txBody>
            <a:bodyPr wrap="none" rtlCol="0">
              <a:spAutoFit/>
            </a:bodyPr>
            <a:lstStyle/>
            <a:p>
              <a:r>
                <a:rPr lang="es-ES" sz="900" dirty="0"/>
                <a:t>Elaboración propia en base a datos de Euromonitor.</a:t>
              </a:r>
            </a:p>
          </p:txBody>
        </p:sp>
      </p:grpSp>
      <p:sp>
        <p:nvSpPr>
          <p:cNvPr id="4" name="3 CuadroTexto"/>
          <p:cNvSpPr txBox="1"/>
          <p:nvPr/>
        </p:nvSpPr>
        <p:spPr>
          <a:xfrm>
            <a:off x="1547664" y="4526446"/>
            <a:ext cx="2052228" cy="2207240"/>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600" b="1" dirty="0"/>
              <a:t>Más importancia de alimentos en el comercio mundial</a:t>
            </a:r>
          </a:p>
        </p:txBody>
      </p:sp>
      <p:sp>
        <p:nvSpPr>
          <p:cNvPr id="9" name="8 CuadroTexto"/>
          <p:cNvSpPr txBox="1"/>
          <p:nvPr/>
        </p:nvSpPr>
        <p:spPr>
          <a:xfrm>
            <a:off x="1326095" y="1988840"/>
            <a:ext cx="1404156" cy="10556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Mayor demanda de recursos hídricos</a:t>
            </a:r>
          </a:p>
        </p:txBody>
      </p:sp>
      <p:sp>
        <p:nvSpPr>
          <p:cNvPr id="10" name="9 CuadroTexto"/>
          <p:cNvSpPr txBox="1"/>
          <p:nvPr/>
        </p:nvSpPr>
        <p:spPr>
          <a:xfrm>
            <a:off x="2951820" y="1986568"/>
            <a:ext cx="999111" cy="57888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Cambio climático</a:t>
            </a:r>
          </a:p>
        </p:txBody>
      </p:sp>
      <p:sp>
        <p:nvSpPr>
          <p:cNvPr id="11" name="10 CuadroTexto"/>
          <p:cNvSpPr txBox="1"/>
          <p:nvPr/>
        </p:nvSpPr>
        <p:spPr>
          <a:xfrm>
            <a:off x="1979712" y="3210160"/>
            <a:ext cx="1404156" cy="12939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Menor disponibilidad de recursos hídricos por habitante</a:t>
            </a:r>
          </a:p>
        </p:txBody>
      </p:sp>
      <p:grpSp>
        <p:nvGrpSpPr>
          <p:cNvPr id="12" name="7 Grupo"/>
          <p:cNvGrpSpPr/>
          <p:nvPr/>
        </p:nvGrpSpPr>
        <p:grpSpPr>
          <a:xfrm>
            <a:off x="3796765" y="3789040"/>
            <a:ext cx="3637553" cy="2946812"/>
            <a:chOff x="4234611" y="3794556"/>
            <a:chExt cx="4850070" cy="2946812"/>
          </a:xfrm>
        </p:grpSpPr>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34611" y="3794556"/>
              <a:ext cx="4850070" cy="2946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4 Elipse"/>
            <p:cNvSpPr/>
            <p:nvPr/>
          </p:nvSpPr>
          <p:spPr>
            <a:xfrm>
              <a:off x="7308304" y="4509120"/>
              <a:ext cx="1008112" cy="758842"/>
            </a:xfrm>
            <a:prstGeom prst="ellipse">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6 Flecha izquierda"/>
            <p:cNvSpPr/>
            <p:nvPr/>
          </p:nvSpPr>
          <p:spPr>
            <a:xfrm>
              <a:off x="8373931" y="4816532"/>
              <a:ext cx="360040" cy="144016"/>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14" name="13 CuadroTexto"/>
          <p:cNvSpPr txBox="1"/>
          <p:nvPr/>
        </p:nvSpPr>
        <p:spPr>
          <a:xfrm>
            <a:off x="7171287" y="4375195"/>
            <a:ext cx="871067" cy="2123658"/>
          </a:xfrm>
          <a:prstGeom prst="rect">
            <a:avLst/>
          </a:prstGeom>
          <a:noFill/>
        </p:spPr>
        <p:txBody>
          <a:bodyPr wrap="square" rtlCol="0">
            <a:spAutoFit/>
          </a:bodyPr>
          <a:lstStyle/>
          <a:p>
            <a:r>
              <a:rPr lang="es-ES" sz="1200" dirty="0"/>
              <a:t>Asia Pacífico es una de las regiones con menos recursos hídricos por habitante</a:t>
            </a:r>
          </a:p>
        </p:txBody>
      </p:sp>
      <p:sp>
        <p:nvSpPr>
          <p:cNvPr id="19" name="1 Título"/>
          <p:cNvSpPr>
            <a:spLocks noGrp="1"/>
          </p:cNvSpPr>
          <p:nvPr>
            <p:ph type="title"/>
          </p:nvPr>
        </p:nvSpPr>
        <p:spPr>
          <a:xfrm>
            <a:off x="457200" y="152718"/>
            <a:ext cx="8075240" cy="683994"/>
          </a:xfrm>
          <a:ln>
            <a:noFill/>
          </a:ln>
        </p:spPr>
        <p:txBody>
          <a:bodyPr>
            <a:normAutofit/>
          </a:bodyPr>
          <a:lstStyle/>
          <a:p>
            <a:r>
              <a:rPr lang="es-ES" sz="2800" dirty="0" smtClean="0"/>
              <a:t>i.	</a:t>
            </a:r>
            <a:r>
              <a:rPr lang="es-ES" sz="2700" dirty="0" smtClean="0">
                <a:solidFill>
                  <a:schemeClr val="tx1"/>
                </a:solidFill>
              </a:rPr>
              <a:t>CONDICIONES DEL ENTORNO</a:t>
            </a:r>
            <a:endParaRPr lang="es-ES" sz="2700" dirty="0">
              <a:solidFill>
                <a:schemeClr val="tx1"/>
              </a:solidFill>
            </a:endParaRPr>
          </a:p>
        </p:txBody>
      </p:sp>
      <p:cxnSp>
        <p:nvCxnSpPr>
          <p:cNvPr id="21" name="20 Conector recto de flecha"/>
          <p:cNvCxnSpPr/>
          <p:nvPr/>
        </p:nvCxnSpPr>
        <p:spPr>
          <a:xfrm>
            <a:off x="2339752" y="2924944"/>
            <a:ext cx="0" cy="4320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 name="24 Conector recto de flecha"/>
          <p:cNvCxnSpPr/>
          <p:nvPr/>
        </p:nvCxnSpPr>
        <p:spPr>
          <a:xfrm>
            <a:off x="3131840" y="2636912"/>
            <a:ext cx="0" cy="5760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30 Conector recto de flecha"/>
          <p:cNvCxnSpPr/>
          <p:nvPr/>
        </p:nvCxnSpPr>
        <p:spPr>
          <a:xfrm>
            <a:off x="3131840" y="4437112"/>
            <a:ext cx="0" cy="5760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7261397"/>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1115616" y="992922"/>
            <a:ext cx="2430270" cy="707886"/>
          </a:xfrm>
          <a:prstGeom prst="rect">
            <a:avLst/>
          </a:prstGeom>
          <a:noFill/>
        </p:spPr>
        <p:txBody>
          <a:bodyPr wrap="square" rtlCol="0">
            <a:spAutoFit/>
          </a:bodyPr>
          <a:lstStyle/>
          <a:p>
            <a:r>
              <a:rPr lang="es-ES" sz="2000" b="1" dirty="0" smtClean="0"/>
              <a:t>Costos </a:t>
            </a:r>
            <a:r>
              <a:rPr lang="es-ES" sz="2000" b="1" dirty="0"/>
              <a:t>de </a:t>
            </a:r>
            <a:r>
              <a:rPr lang="es-ES" sz="2000" b="1" u="sng" dirty="0"/>
              <a:t>transporte</a:t>
            </a:r>
          </a:p>
        </p:txBody>
      </p:sp>
      <p:grpSp>
        <p:nvGrpSpPr>
          <p:cNvPr id="4" name="5 Grupo"/>
          <p:cNvGrpSpPr/>
          <p:nvPr/>
        </p:nvGrpSpPr>
        <p:grpSpPr>
          <a:xfrm>
            <a:off x="1277634" y="3717031"/>
            <a:ext cx="4914546" cy="3128376"/>
            <a:chOff x="82708" y="3577086"/>
            <a:chExt cx="5425396" cy="3216827"/>
          </a:xfrm>
        </p:grpSpPr>
        <p:graphicFrame>
          <p:nvGraphicFramePr>
            <p:cNvPr id="5" name="2 Gráfico"/>
            <p:cNvGraphicFramePr>
              <a:graphicFrameLocks/>
            </p:cNvGraphicFramePr>
            <p:nvPr>
              <p:extLst/>
            </p:nvPr>
          </p:nvGraphicFramePr>
          <p:xfrm>
            <a:off x="251520" y="3577086"/>
            <a:ext cx="4898866" cy="2871338"/>
          </p:xfrm>
          <a:graphic>
            <a:graphicData uri="http://schemas.openxmlformats.org/drawingml/2006/chart">
              <c:chart xmlns:c="http://schemas.openxmlformats.org/drawingml/2006/chart" xmlns:r="http://schemas.openxmlformats.org/officeDocument/2006/relationships" r:id="rId3"/>
            </a:graphicData>
          </a:graphic>
        </p:graphicFrame>
        <p:sp>
          <p:nvSpPr>
            <p:cNvPr id="3" name="2 CuadroTexto"/>
            <p:cNvSpPr txBox="1"/>
            <p:nvPr/>
          </p:nvSpPr>
          <p:spPr>
            <a:xfrm>
              <a:off x="82708" y="6382490"/>
              <a:ext cx="5425396" cy="411423"/>
            </a:xfrm>
            <a:prstGeom prst="rect">
              <a:avLst/>
            </a:prstGeom>
            <a:noFill/>
          </p:spPr>
          <p:txBody>
            <a:bodyPr wrap="square" rtlCol="0">
              <a:spAutoFit/>
            </a:bodyPr>
            <a:lstStyle/>
            <a:p>
              <a:r>
                <a:rPr lang="es-ES" sz="1000" dirty="0"/>
                <a:t>Elaboración propia en base a datos de la Agencia Internacional de la Energía (2012).</a:t>
              </a:r>
            </a:p>
          </p:txBody>
        </p:sp>
      </p:grpSp>
      <p:sp>
        <p:nvSpPr>
          <p:cNvPr id="9" name="8 CuadroTexto"/>
          <p:cNvSpPr txBox="1"/>
          <p:nvPr/>
        </p:nvSpPr>
        <p:spPr>
          <a:xfrm>
            <a:off x="1464968" y="2850118"/>
            <a:ext cx="1404156" cy="8172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Aumento del precio de la energía</a:t>
            </a:r>
          </a:p>
        </p:txBody>
      </p:sp>
      <p:sp>
        <p:nvSpPr>
          <p:cNvPr id="10" name="9 CuadroTexto"/>
          <p:cNvSpPr txBox="1"/>
          <p:nvPr/>
        </p:nvSpPr>
        <p:spPr>
          <a:xfrm>
            <a:off x="3366731" y="2683765"/>
            <a:ext cx="1998222" cy="10556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Mejoras significativas en infraestructura y facilitación de comercio</a:t>
            </a:r>
          </a:p>
        </p:txBody>
      </p:sp>
      <p:sp>
        <p:nvSpPr>
          <p:cNvPr id="11" name="10 CuadroTexto"/>
          <p:cNvSpPr txBox="1"/>
          <p:nvPr/>
        </p:nvSpPr>
        <p:spPr>
          <a:xfrm>
            <a:off x="6516216" y="2636912"/>
            <a:ext cx="1458162" cy="12939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Efecto global negativo: aumento de costos de transporte</a:t>
            </a:r>
          </a:p>
        </p:txBody>
      </p:sp>
      <p:sp>
        <p:nvSpPr>
          <p:cNvPr id="12" name="11 CuadroTexto"/>
          <p:cNvSpPr txBox="1"/>
          <p:nvPr/>
        </p:nvSpPr>
        <p:spPr>
          <a:xfrm>
            <a:off x="3663764" y="1124744"/>
            <a:ext cx="1404156" cy="12939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Efecto global positivo: disminución de costos de transporte</a:t>
            </a:r>
          </a:p>
        </p:txBody>
      </p:sp>
      <p:sp>
        <p:nvSpPr>
          <p:cNvPr id="14" name="13 CuadroTexto"/>
          <p:cNvSpPr txBox="1"/>
          <p:nvPr/>
        </p:nvSpPr>
        <p:spPr>
          <a:xfrm>
            <a:off x="6300192" y="1217683"/>
            <a:ext cx="1620180" cy="1191816"/>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600" b="1" dirty="0"/>
              <a:t>Mayor dinamismo del comercio a nivel global</a:t>
            </a:r>
          </a:p>
        </p:txBody>
      </p:sp>
      <p:sp>
        <p:nvSpPr>
          <p:cNvPr id="16" name="15 CuadroTexto"/>
          <p:cNvSpPr txBox="1"/>
          <p:nvPr/>
        </p:nvSpPr>
        <p:spPr>
          <a:xfrm>
            <a:off x="5880113" y="5977475"/>
            <a:ext cx="1620180" cy="817245"/>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b="1" dirty="0"/>
              <a:t>Mayor regionalización del comercio</a:t>
            </a:r>
          </a:p>
        </p:txBody>
      </p:sp>
      <p:sp>
        <p:nvSpPr>
          <p:cNvPr id="17" name="16 CuadroTexto"/>
          <p:cNvSpPr txBox="1"/>
          <p:nvPr/>
        </p:nvSpPr>
        <p:spPr>
          <a:xfrm>
            <a:off x="5880113" y="4137480"/>
            <a:ext cx="1620180" cy="1293971"/>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b="1" dirty="0"/>
              <a:t>Intensificación del intercambio de productos de alta calidad</a:t>
            </a:r>
          </a:p>
        </p:txBody>
      </p:sp>
      <p:sp>
        <p:nvSpPr>
          <p:cNvPr id="7" name="6 CuadroTexto"/>
          <p:cNvSpPr txBox="1"/>
          <p:nvPr/>
        </p:nvSpPr>
        <p:spPr>
          <a:xfrm>
            <a:off x="3815917" y="4733390"/>
            <a:ext cx="647934" cy="307777"/>
          </a:xfrm>
          <a:prstGeom prst="rect">
            <a:avLst/>
          </a:prstGeom>
          <a:noFill/>
        </p:spPr>
        <p:txBody>
          <a:bodyPr wrap="none" rtlCol="0">
            <a:spAutoFit/>
          </a:bodyPr>
          <a:lstStyle/>
          <a:p>
            <a:r>
              <a:rPr lang="es-ES" sz="1400" b="1" dirty="0"/>
              <a:t>+16%</a:t>
            </a:r>
          </a:p>
        </p:txBody>
      </p:sp>
      <p:sp>
        <p:nvSpPr>
          <p:cNvPr id="25" name="24 CuadroTexto"/>
          <p:cNvSpPr txBox="1"/>
          <p:nvPr/>
        </p:nvSpPr>
        <p:spPr>
          <a:xfrm>
            <a:off x="3059832" y="2401143"/>
            <a:ext cx="1196161" cy="292388"/>
          </a:xfrm>
          <a:prstGeom prst="rect">
            <a:avLst/>
          </a:prstGeom>
          <a:noFill/>
        </p:spPr>
        <p:txBody>
          <a:bodyPr wrap="none" rtlCol="0">
            <a:spAutoFit/>
          </a:bodyPr>
          <a:lstStyle/>
          <a:p>
            <a:r>
              <a:rPr lang="es-ES" sz="1300" b="1" dirty="0"/>
              <a:t>Con mejoras</a:t>
            </a:r>
          </a:p>
        </p:txBody>
      </p:sp>
      <p:sp>
        <p:nvSpPr>
          <p:cNvPr id="26" name="25 CuadroTexto"/>
          <p:cNvSpPr txBox="1"/>
          <p:nvPr/>
        </p:nvSpPr>
        <p:spPr>
          <a:xfrm>
            <a:off x="5364088" y="2761185"/>
            <a:ext cx="1130438" cy="292388"/>
          </a:xfrm>
          <a:prstGeom prst="rect">
            <a:avLst/>
          </a:prstGeom>
          <a:noFill/>
        </p:spPr>
        <p:txBody>
          <a:bodyPr wrap="none" rtlCol="0">
            <a:spAutoFit/>
          </a:bodyPr>
          <a:lstStyle/>
          <a:p>
            <a:r>
              <a:rPr lang="es-ES" sz="1300" b="1" dirty="0"/>
              <a:t>Sin mejoras</a:t>
            </a:r>
          </a:p>
        </p:txBody>
      </p:sp>
      <p:sp>
        <p:nvSpPr>
          <p:cNvPr id="24" name="23 CuadroTexto"/>
          <p:cNvSpPr txBox="1"/>
          <p:nvPr/>
        </p:nvSpPr>
        <p:spPr>
          <a:xfrm>
            <a:off x="3815917" y="4129337"/>
            <a:ext cx="647934" cy="307777"/>
          </a:xfrm>
          <a:prstGeom prst="rect">
            <a:avLst/>
          </a:prstGeom>
          <a:noFill/>
        </p:spPr>
        <p:txBody>
          <a:bodyPr wrap="none" rtlCol="0">
            <a:spAutoFit/>
          </a:bodyPr>
          <a:lstStyle/>
          <a:p>
            <a:r>
              <a:rPr lang="es-ES" sz="1400" b="1" dirty="0"/>
              <a:t>+36%</a:t>
            </a:r>
          </a:p>
        </p:txBody>
      </p:sp>
      <p:sp>
        <p:nvSpPr>
          <p:cNvPr id="27" name="26 CuadroTexto"/>
          <p:cNvSpPr txBox="1"/>
          <p:nvPr/>
        </p:nvSpPr>
        <p:spPr>
          <a:xfrm>
            <a:off x="3923928" y="5445226"/>
            <a:ext cx="503664" cy="307777"/>
          </a:xfrm>
          <a:prstGeom prst="rect">
            <a:avLst/>
          </a:prstGeom>
          <a:noFill/>
        </p:spPr>
        <p:txBody>
          <a:bodyPr wrap="none" rtlCol="0">
            <a:spAutoFit/>
          </a:bodyPr>
          <a:lstStyle/>
          <a:p>
            <a:r>
              <a:rPr lang="es-ES" sz="1400" b="1" dirty="0"/>
              <a:t>-8%</a:t>
            </a:r>
          </a:p>
        </p:txBody>
      </p:sp>
      <p:sp>
        <p:nvSpPr>
          <p:cNvPr id="29" name="1 Título"/>
          <p:cNvSpPr>
            <a:spLocks noGrp="1"/>
          </p:cNvSpPr>
          <p:nvPr>
            <p:ph type="title"/>
          </p:nvPr>
        </p:nvSpPr>
        <p:spPr>
          <a:xfrm>
            <a:off x="457200" y="152718"/>
            <a:ext cx="8075240" cy="683994"/>
          </a:xfrm>
          <a:ln>
            <a:noFill/>
          </a:ln>
        </p:spPr>
        <p:txBody>
          <a:bodyPr>
            <a:normAutofit/>
          </a:bodyPr>
          <a:lstStyle/>
          <a:p>
            <a:r>
              <a:rPr lang="es-ES" sz="2800" dirty="0" smtClean="0"/>
              <a:t>i.	</a:t>
            </a:r>
            <a:r>
              <a:rPr lang="es-ES" sz="2700" dirty="0" smtClean="0">
                <a:solidFill>
                  <a:schemeClr val="tx1"/>
                </a:solidFill>
              </a:rPr>
              <a:t>CONDICIONES DEL ENTORNO</a:t>
            </a:r>
            <a:endParaRPr lang="es-ES" sz="2700" dirty="0">
              <a:solidFill>
                <a:schemeClr val="tx1"/>
              </a:solidFill>
            </a:endParaRPr>
          </a:p>
        </p:txBody>
      </p:sp>
      <p:cxnSp>
        <p:nvCxnSpPr>
          <p:cNvPr id="31" name="30 Conector recto de flecha"/>
          <p:cNvCxnSpPr>
            <a:endCxn id="14" idx="1"/>
          </p:cNvCxnSpPr>
          <p:nvPr/>
        </p:nvCxnSpPr>
        <p:spPr>
          <a:xfrm flipV="1">
            <a:off x="5076056" y="1813591"/>
            <a:ext cx="1224136" cy="3123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36 Conector recto de flecha"/>
          <p:cNvCxnSpPr>
            <a:stCxn id="10" idx="3"/>
          </p:cNvCxnSpPr>
          <p:nvPr/>
        </p:nvCxnSpPr>
        <p:spPr>
          <a:xfrm>
            <a:off x="5364953" y="3211569"/>
            <a:ext cx="1079255" cy="140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 name="45 Conector recto de flecha"/>
          <p:cNvCxnSpPr>
            <a:endCxn id="10" idx="1"/>
          </p:cNvCxnSpPr>
          <p:nvPr/>
        </p:nvCxnSpPr>
        <p:spPr>
          <a:xfrm flipV="1">
            <a:off x="2843808" y="3211569"/>
            <a:ext cx="522923" cy="140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2" name="51 Conector recto de flecha"/>
          <p:cNvCxnSpPr>
            <a:stCxn id="12" idx="2"/>
            <a:endCxn id="10" idx="0"/>
          </p:cNvCxnSpPr>
          <p:nvPr/>
        </p:nvCxnSpPr>
        <p:spPr>
          <a:xfrm>
            <a:off x="4365842" y="2418715"/>
            <a:ext cx="0" cy="265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56 Conector recto de flecha"/>
          <p:cNvCxnSpPr/>
          <p:nvPr/>
        </p:nvCxnSpPr>
        <p:spPr>
          <a:xfrm>
            <a:off x="7812360" y="4005064"/>
            <a:ext cx="0" cy="25202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0" name="59 Conector recto de flecha"/>
          <p:cNvCxnSpPr/>
          <p:nvPr/>
        </p:nvCxnSpPr>
        <p:spPr>
          <a:xfrm flipH="1">
            <a:off x="7524328" y="4869160"/>
            <a:ext cx="28803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66 Conector recto de flecha"/>
          <p:cNvCxnSpPr/>
          <p:nvPr/>
        </p:nvCxnSpPr>
        <p:spPr>
          <a:xfrm flipH="1">
            <a:off x="7524328" y="6453336"/>
            <a:ext cx="21602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8716900"/>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539553" y="908720"/>
            <a:ext cx="3276364" cy="1015663"/>
          </a:xfrm>
          <a:prstGeom prst="rect">
            <a:avLst/>
          </a:prstGeom>
          <a:noFill/>
        </p:spPr>
        <p:txBody>
          <a:bodyPr wrap="square" rtlCol="0">
            <a:spAutoFit/>
          </a:bodyPr>
          <a:lstStyle/>
          <a:p>
            <a:r>
              <a:rPr lang="es-ES" sz="2000" b="1" dirty="0" smtClean="0"/>
              <a:t>Entorno </a:t>
            </a:r>
            <a:r>
              <a:rPr lang="es-ES" sz="2000" b="1" dirty="0"/>
              <a:t>macroeconómico y </a:t>
            </a:r>
            <a:r>
              <a:rPr lang="es-ES" sz="2000" b="1" u="sng" dirty="0"/>
              <a:t>financiero</a:t>
            </a:r>
          </a:p>
        </p:txBody>
      </p:sp>
      <p:sp>
        <p:nvSpPr>
          <p:cNvPr id="4" name="3 CuadroTexto"/>
          <p:cNvSpPr txBox="1"/>
          <p:nvPr/>
        </p:nvSpPr>
        <p:spPr>
          <a:xfrm>
            <a:off x="1898703" y="3324116"/>
            <a:ext cx="1674186" cy="8172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Reorientación de los fondos al sector real</a:t>
            </a:r>
          </a:p>
        </p:txBody>
      </p:sp>
      <p:sp>
        <p:nvSpPr>
          <p:cNvPr id="5" name="4 CuadroTexto"/>
          <p:cNvSpPr txBox="1"/>
          <p:nvPr/>
        </p:nvSpPr>
        <p:spPr>
          <a:xfrm>
            <a:off x="2222739" y="1775121"/>
            <a:ext cx="1026114" cy="57888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400" dirty="0"/>
              <a:t>Crisis financiera</a:t>
            </a:r>
          </a:p>
        </p:txBody>
      </p:sp>
      <p:sp>
        <p:nvSpPr>
          <p:cNvPr id="6" name="5 CuadroTexto"/>
          <p:cNvSpPr txBox="1"/>
          <p:nvPr/>
        </p:nvSpPr>
        <p:spPr>
          <a:xfrm>
            <a:off x="1914966" y="4941170"/>
            <a:ext cx="1620180" cy="1123712"/>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500" b="1" dirty="0"/>
              <a:t>Mayores disponibilidad de crédito para pymes</a:t>
            </a:r>
          </a:p>
        </p:txBody>
      </p:sp>
      <p:graphicFrame>
        <p:nvGraphicFramePr>
          <p:cNvPr id="9" name="1 Gráfico"/>
          <p:cNvGraphicFramePr>
            <a:graphicFrameLocks/>
          </p:cNvGraphicFramePr>
          <p:nvPr>
            <p:extLst/>
          </p:nvPr>
        </p:nvGraphicFramePr>
        <p:xfrm>
          <a:off x="4301970" y="1078577"/>
          <a:ext cx="3186354" cy="25858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1 Gráfico"/>
          <p:cNvGraphicFramePr>
            <a:graphicFrameLocks/>
          </p:cNvGraphicFramePr>
          <p:nvPr>
            <p:extLst/>
          </p:nvPr>
        </p:nvGraphicFramePr>
        <p:xfrm>
          <a:off x="4355976" y="3613557"/>
          <a:ext cx="3266982"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7" name="6 CuadroTexto"/>
          <p:cNvSpPr txBox="1"/>
          <p:nvPr/>
        </p:nvSpPr>
        <p:spPr>
          <a:xfrm>
            <a:off x="4361977" y="6406298"/>
            <a:ext cx="3504389" cy="430887"/>
          </a:xfrm>
          <a:prstGeom prst="rect">
            <a:avLst/>
          </a:prstGeom>
          <a:noFill/>
        </p:spPr>
        <p:txBody>
          <a:bodyPr wrap="square" rtlCol="0">
            <a:spAutoFit/>
          </a:bodyPr>
          <a:lstStyle/>
          <a:p>
            <a:r>
              <a:rPr lang="es-ES" sz="1100" dirty="0"/>
              <a:t>Elaboración propia en base a datos del BCRP. Los datos de 2013 corresponden al periodo enero – junio.</a:t>
            </a:r>
          </a:p>
        </p:txBody>
      </p:sp>
      <p:sp>
        <p:nvSpPr>
          <p:cNvPr id="12" name="1 Título"/>
          <p:cNvSpPr>
            <a:spLocks noGrp="1"/>
          </p:cNvSpPr>
          <p:nvPr>
            <p:ph type="title"/>
          </p:nvPr>
        </p:nvSpPr>
        <p:spPr>
          <a:xfrm>
            <a:off x="457200" y="152718"/>
            <a:ext cx="8075240" cy="683994"/>
          </a:xfrm>
          <a:ln>
            <a:noFill/>
          </a:ln>
        </p:spPr>
        <p:txBody>
          <a:bodyPr>
            <a:normAutofit/>
          </a:bodyPr>
          <a:lstStyle/>
          <a:p>
            <a:r>
              <a:rPr lang="es-ES" sz="2800" dirty="0" smtClean="0"/>
              <a:t>i.	</a:t>
            </a:r>
            <a:r>
              <a:rPr lang="es-ES" sz="2700" dirty="0" smtClean="0">
                <a:solidFill>
                  <a:schemeClr val="tx1"/>
                </a:solidFill>
              </a:rPr>
              <a:t>CONDICIONES DEL ENTORNO</a:t>
            </a:r>
            <a:endParaRPr lang="es-ES" sz="2700" dirty="0">
              <a:solidFill>
                <a:schemeClr val="tx1"/>
              </a:solidFill>
            </a:endParaRPr>
          </a:p>
        </p:txBody>
      </p:sp>
      <p:cxnSp>
        <p:nvCxnSpPr>
          <p:cNvPr id="14" name="13 Conector recto de flecha"/>
          <p:cNvCxnSpPr>
            <a:stCxn id="5" idx="2"/>
            <a:endCxn id="4" idx="0"/>
          </p:cNvCxnSpPr>
          <p:nvPr/>
        </p:nvCxnSpPr>
        <p:spPr>
          <a:xfrm>
            <a:off x="2735796" y="2354003"/>
            <a:ext cx="0" cy="970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25 Conector recto de flecha"/>
          <p:cNvCxnSpPr/>
          <p:nvPr/>
        </p:nvCxnSpPr>
        <p:spPr>
          <a:xfrm>
            <a:off x="2699792" y="4149080"/>
            <a:ext cx="0" cy="86409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4470965"/>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1087328" y="908720"/>
            <a:ext cx="2430270" cy="400110"/>
          </a:xfrm>
          <a:prstGeom prst="rect">
            <a:avLst/>
          </a:prstGeom>
          <a:noFill/>
        </p:spPr>
        <p:txBody>
          <a:bodyPr wrap="square" rtlCol="0">
            <a:spAutoFit/>
          </a:bodyPr>
          <a:lstStyle/>
          <a:p>
            <a:pPr algn="ctr"/>
            <a:r>
              <a:rPr lang="es-ES" sz="2000" b="1" dirty="0"/>
              <a:t>Oportunidades</a:t>
            </a:r>
          </a:p>
        </p:txBody>
      </p:sp>
      <p:sp>
        <p:nvSpPr>
          <p:cNvPr id="7" name="6 CuadroTexto"/>
          <p:cNvSpPr txBox="1"/>
          <p:nvPr/>
        </p:nvSpPr>
        <p:spPr>
          <a:xfrm>
            <a:off x="4223091" y="908720"/>
            <a:ext cx="2430270" cy="400110"/>
          </a:xfrm>
          <a:prstGeom prst="rect">
            <a:avLst/>
          </a:prstGeom>
          <a:noFill/>
        </p:spPr>
        <p:txBody>
          <a:bodyPr wrap="square" rtlCol="0">
            <a:spAutoFit/>
          </a:bodyPr>
          <a:lstStyle/>
          <a:p>
            <a:pPr algn="ctr"/>
            <a:r>
              <a:rPr lang="es-ES" sz="2000" b="1" dirty="0"/>
              <a:t>Amenazas</a:t>
            </a:r>
          </a:p>
        </p:txBody>
      </p:sp>
      <p:sp>
        <p:nvSpPr>
          <p:cNvPr id="6" name="5 CuadroTexto"/>
          <p:cNvSpPr txBox="1"/>
          <p:nvPr/>
        </p:nvSpPr>
        <p:spPr>
          <a:xfrm>
            <a:off x="550683" y="1772816"/>
            <a:ext cx="1674186" cy="76616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Dinamismo de los servicios en el comercio mundial</a:t>
            </a:r>
          </a:p>
        </p:txBody>
      </p:sp>
      <p:sp>
        <p:nvSpPr>
          <p:cNvPr id="9" name="8 CuadroTexto"/>
          <p:cNvSpPr txBox="1"/>
          <p:nvPr/>
        </p:nvSpPr>
        <p:spPr>
          <a:xfrm>
            <a:off x="550683" y="2590797"/>
            <a:ext cx="1674186" cy="987504"/>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Mayor participación de alimentos en el comercio mundial</a:t>
            </a:r>
          </a:p>
        </p:txBody>
      </p:sp>
      <p:sp>
        <p:nvSpPr>
          <p:cNvPr id="10" name="9 CuadroTexto"/>
          <p:cNvSpPr txBox="1"/>
          <p:nvPr/>
        </p:nvSpPr>
        <p:spPr>
          <a:xfrm>
            <a:off x="4601133" y="1772819"/>
            <a:ext cx="1674186" cy="1447205"/>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Escalada de medidas proteccionistas por parte de socios </a:t>
            </a:r>
            <a:r>
              <a:rPr lang="es-ES" sz="1400" dirty="0"/>
              <a:t>comerciales</a:t>
            </a:r>
          </a:p>
        </p:txBody>
      </p:sp>
      <p:sp>
        <p:nvSpPr>
          <p:cNvPr id="11" name="10 CuadroTexto"/>
          <p:cNvSpPr txBox="1"/>
          <p:nvPr/>
        </p:nvSpPr>
        <p:spPr>
          <a:xfrm>
            <a:off x="4601133" y="2922126"/>
            <a:ext cx="1674186" cy="76616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Aumento de los costos de transporte</a:t>
            </a:r>
          </a:p>
        </p:txBody>
      </p:sp>
      <p:sp>
        <p:nvSpPr>
          <p:cNvPr id="12" name="11 CuadroTexto"/>
          <p:cNvSpPr txBox="1"/>
          <p:nvPr/>
        </p:nvSpPr>
        <p:spPr>
          <a:xfrm>
            <a:off x="2359884" y="2686741"/>
            <a:ext cx="1674186" cy="76616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Mayor crédito disponible para pymes</a:t>
            </a:r>
          </a:p>
        </p:txBody>
      </p:sp>
      <p:sp>
        <p:nvSpPr>
          <p:cNvPr id="13" name="12 CuadroTexto"/>
          <p:cNvSpPr txBox="1"/>
          <p:nvPr/>
        </p:nvSpPr>
        <p:spPr>
          <a:xfrm>
            <a:off x="2359884" y="1772816"/>
            <a:ext cx="1674186" cy="578882"/>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Crecimiento</a:t>
            </a:r>
            <a:r>
              <a:rPr lang="es-ES" sz="1400" dirty="0"/>
              <a:t> del comercio regional</a:t>
            </a:r>
          </a:p>
        </p:txBody>
      </p:sp>
      <p:sp>
        <p:nvSpPr>
          <p:cNvPr id="14" name="13 CuadroTexto"/>
          <p:cNvSpPr txBox="1"/>
          <p:nvPr/>
        </p:nvSpPr>
        <p:spPr>
          <a:xfrm>
            <a:off x="550683" y="3687690"/>
            <a:ext cx="1674186" cy="987504"/>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Crecimiento de la clase media en países emergentes</a:t>
            </a:r>
          </a:p>
        </p:txBody>
      </p:sp>
      <p:sp>
        <p:nvSpPr>
          <p:cNvPr id="16" name="15 CuadroTexto"/>
          <p:cNvSpPr txBox="1"/>
          <p:nvPr/>
        </p:nvSpPr>
        <p:spPr>
          <a:xfrm>
            <a:off x="4601133" y="3835892"/>
            <a:ext cx="1674186" cy="1208842"/>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Aumento de la brecha tecnológica con economías desarrolladas</a:t>
            </a:r>
          </a:p>
        </p:txBody>
      </p:sp>
      <p:sp>
        <p:nvSpPr>
          <p:cNvPr id="17" name="16 CuadroTexto"/>
          <p:cNvSpPr txBox="1"/>
          <p:nvPr/>
        </p:nvSpPr>
        <p:spPr>
          <a:xfrm>
            <a:off x="2386887" y="4933841"/>
            <a:ext cx="1674186" cy="76616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Convergencia tecnológica en la región</a:t>
            </a:r>
          </a:p>
        </p:txBody>
      </p:sp>
      <p:sp>
        <p:nvSpPr>
          <p:cNvPr id="3" name="2 Rectángulo"/>
          <p:cNvSpPr/>
          <p:nvPr/>
        </p:nvSpPr>
        <p:spPr>
          <a:xfrm>
            <a:off x="4223091" y="1098513"/>
            <a:ext cx="60877" cy="54268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17 CuadroTexto"/>
          <p:cNvSpPr txBox="1"/>
          <p:nvPr/>
        </p:nvSpPr>
        <p:spPr>
          <a:xfrm>
            <a:off x="550683" y="4814661"/>
            <a:ext cx="1674186" cy="76616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Desarrollo de infraestructura logística global</a:t>
            </a:r>
          </a:p>
        </p:txBody>
      </p:sp>
      <p:sp>
        <p:nvSpPr>
          <p:cNvPr id="19" name="18 CuadroTexto"/>
          <p:cNvSpPr txBox="1"/>
          <p:nvPr/>
        </p:nvSpPr>
        <p:spPr>
          <a:xfrm>
            <a:off x="2359884" y="3696899"/>
            <a:ext cx="1674186" cy="1208842"/>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Mayor cooperación multilateral en facilitación de comercio</a:t>
            </a:r>
          </a:p>
        </p:txBody>
      </p:sp>
      <p:sp>
        <p:nvSpPr>
          <p:cNvPr id="20" name="19 CuadroTexto"/>
          <p:cNvSpPr txBox="1"/>
          <p:nvPr/>
        </p:nvSpPr>
        <p:spPr>
          <a:xfrm>
            <a:off x="6444221" y="1755116"/>
            <a:ext cx="1674186" cy="987504"/>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Pérdida de competitividad por efectos del cambio climático</a:t>
            </a:r>
          </a:p>
        </p:txBody>
      </p:sp>
      <p:sp>
        <p:nvSpPr>
          <p:cNvPr id="21" name="20 CuadroTexto"/>
          <p:cNvSpPr txBox="1"/>
          <p:nvPr/>
        </p:nvSpPr>
        <p:spPr>
          <a:xfrm>
            <a:off x="6444221" y="2930650"/>
            <a:ext cx="1674186" cy="54483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ES" sz="1300" dirty="0"/>
              <a:t>Agravamiento de la crisis económica</a:t>
            </a:r>
          </a:p>
        </p:txBody>
      </p:sp>
      <p:sp>
        <p:nvSpPr>
          <p:cNvPr id="22" name="1 Título"/>
          <p:cNvSpPr>
            <a:spLocks noGrp="1"/>
          </p:cNvSpPr>
          <p:nvPr>
            <p:ph type="title"/>
          </p:nvPr>
        </p:nvSpPr>
        <p:spPr>
          <a:xfrm>
            <a:off x="457200" y="152718"/>
            <a:ext cx="8075240" cy="683994"/>
          </a:xfrm>
          <a:ln>
            <a:noFill/>
          </a:ln>
        </p:spPr>
        <p:txBody>
          <a:bodyPr>
            <a:normAutofit/>
          </a:bodyPr>
          <a:lstStyle/>
          <a:p>
            <a:r>
              <a:rPr lang="es-ES" sz="2800" dirty="0" smtClean="0"/>
              <a:t>i.	</a:t>
            </a:r>
            <a:r>
              <a:rPr lang="es-ES" sz="2700" dirty="0" smtClean="0">
                <a:solidFill>
                  <a:schemeClr val="tx1"/>
                </a:solidFill>
              </a:rPr>
              <a:t>CONDICIONES DEL ENTORNO</a:t>
            </a:r>
            <a:endParaRPr lang="es-ES" sz="2700" dirty="0">
              <a:solidFill>
                <a:schemeClr val="tx1"/>
              </a:solidFill>
            </a:endParaRPr>
          </a:p>
        </p:txBody>
      </p:sp>
    </p:spTree>
    <p:extLst>
      <p:ext uri="{BB962C8B-B14F-4D97-AF65-F5344CB8AC3E}">
        <p14:creationId xmlns:p14="http://schemas.microsoft.com/office/powerpoint/2010/main" val="2698637280"/>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L5gH9kVU0kuHdBfCqVWh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VU06VUIUG4L.fXgLuQ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R_TX2I5lFUWQp1j6hEGJ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L5gH9kVU0kuHdBfCqVWh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VU06VUIUG4L.fXgLuQ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R_TX2I5lFUWQp1j6hEGJwQ"/>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Esencial">
  <a:themeElements>
    <a:clrScheme name="Esencial">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Esenc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quidad">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blipFill rotWithShape="1">
          <a:blip xmlns:r="http://schemas.openxmlformats.org/officeDocument/2006/relationships" r:embed="rId2">
            <a:duotone>
              <a:schemeClr val="phClr">
                <a:tint val="96000"/>
              </a:schemeClr>
              <a:schemeClr val="phClr">
                <a:shade val="94000"/>
              </a:schemeClr>
            </a:duotone>
          </a:blip>
          <a:tile tx="0" ty="0" sx="100000" sy="100000" flip="none" algn="tl"/>
        </a:blipFill>
        <a:gradFill rotWithShape="1">
          <a:gsLst>
            <a:gs pos="0">
              <a:schemeClr val="phClr">
                <a:tint val="84000"/>
                <a:satMod val="110000"/>
              </a:schemeClr>
            </a:gs>
            <a:gs pos="44000">
              <a:schemeClr val="phClr">
                <a:tint val="93000"/>
                <a:satMod val="115000"/>
              </a:schemeClr>
            </a:gs>
            <a:gs pos="100000">
              <a:schemeClr val="phClr">
                <a:tint val="100000"/>
                <a:shade val="59000"/>
                <a:satMod val="120000"/>
              </a:schemeClr>
            </a:gs>
          </a:gsLst>
          <a:path path="circle">
            <a:fillToRect l="40000" t="60000" r="60000" b="40000"/>
          </a:path>
        </a:gradFill>
      </a:bgFillStyleLst>
    </a:fmtScheme>
  </a:themeElements>
  <a:objectDefaults/>
  <a:extraClrSchemeLst/>
</a:theme>
</file>

<file path=ppt/theme/theme2.xml><?xml version="1.0" encoding="utf-8"?>
<a:theme xmlns:a="http://schemas.openxmlformats.org/drawingml/2006/main" name="Retos y Op. UE-Peru_10.05.2013">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redetermin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ssential</Template>
  <TotalTime>615</TotalTime>
  <Words>2778</Words>
  <Application>Microsoft Office PowerPoint</Application>
  <PresentationFormat>Presentación en pantalla (4:3)</PresentationFormat>
  <Paragraphs>417</Paragraphs>
  <Slides>33</Slides>
  <Notes>16</Notes>
  <HiddenSlides>0</HiddenSlides>
  <MMClips>0</MMClips>
  <ScaleCrop>false</ScaleCrop>
  <HeadingPairs>
    <vt:vector size="4" baseType="variant">
      <vt:variant>
        <vt:lpstr>Tema</vt:lpstr>
      </vt:variant>
      <vt:variant>
        <vt:i4>2</vt:i4>
      </vt:variant>
      <vt:variant>
        <vt:lpstr>Títulos de diapositiva</vt:lpstr>
      </vt:variant>
      <vt:variant>
        <vt:i4>33</vt:i4>
      </vt:variant>
    </vt:vector>
  </HeadingPairs>
  <TitlesOfParts>
    <vt:vector size="35" baseType="lpstr">
      <vt:lpstr>Esencial</vt:lpstr>
      <vt:lpstr>Retos y Op. UE-Peru_10.05.2013</vt:lpstr>
      <vt:lpstr>OPORTUNIDADES DE LOS TLC´s  Y PROMOCION DE EXPORTACIONES</vt:lpstr>
      <vt:lpstr>AGENDA</vt:lpstr>
      <vt:lpstr>i. CONDICIONES DEL   ENTORNO</vt:lpstr>
      <vt:lpstr>i. CONDICIONES DEL ENTORNO</vt:lpstr>
      <vt:lpstr>i. CONDICIONES DEL ENTORNO</vt:lpstr>
      <vt:lpstr>i. CONDICIONES DEL ENTORNO</vt:lpstr>
      <vt:lpstr>i. CONDICIONES DEL ENTORNO</vt:lpstr>
      <vt:lpstr>i. CONDICIONES DEL ENTORNO</vt:lpstr>
      <vt:lpstr>i. CONDICIONES DEL ENTORNO</vt:lpstr>
      <vt:lpstr>ii. Peru: evolucion exportadora</vt:lpstr>
      <vt:lpstr>Presentación de PowerPoint</vt:lpstr>
      <vt:lpstr>Presentación de PowerPoint</vt:lpstr>
      <vt:lpstr>Presentación de PowerPoint</vt:lpstr>
      <vt:lpstr>Presentación de PowerPoint</vt:lpstr>
      <vt:lpstr>Presentación de PowerPoint</vt:lpstr>
      <vt:lpstr>iiI. TAREA DEL ESTADO</vt:lpstr>
      <vt:lpstr>Presentación de PowerPoint</vt:lpstr>
      <vt:lpstr>iiI. TAREA DEL ESTADO</vt:lpstr>
      <vt:lpstr>Presentación de PowerPoint</vt:lpstr>
      <vt:lpstr>Presentación de PowerPoint</vt:lpstr>
      <vt:lpstr>Presentación de PowerPoint</vt:lpstr>
      <vt:lpstr>iiI. DESAFIOS PARA LA EMPRESA   PERUAN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Olga  Castillo</dc:creator>
  <cp:lastModifiedBy>Christian</cp:lastModifiedBy>
  <cp:revision>70</cp:revision>
  <dcterms:created xsi:type="dcterms:W3CDTF">2013-11-21T17:28:52Z</dcterms:created>
  <dcterms:modified xsi:type="dcterms:W3CDTF">2013-11-25T16:18:18Z</dcterms:modified>
</cp:coreProperties>
</file>